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2" r:id="rId1"/>
  </p:sldMasterIdLst>
  <p:notesMasterIdLst>
    <p:notesMasterId r:id="rId10"/>
  </p:notesMasterIdLst>
  <p:sldIdLst>
    <p:sldId id="281" r:id="rId2"/>
    <p:sldId id="282" r:id="rId3"/>
    <p:sldId id="288" r:id="rId4"/>
    <p:sldId id="283" r:id="rId5"/>
    <p:sldId id="285" r:id="rId6"/>
    <p:sldId id="286" r:id="rId7"/>
    <p:sldId id="287" r:id="rId8"/>
    <p:sldId id="257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19"/>
    <p:restoredTop sz="96327"/>
  </p:normalViewPr>
  <p:slideViewPr>
    <p:cSldViewPr snapToGrid="0">
      <p:cViewPr>
        <p:scale>
          <a:sx n="76" d="100"/>
          <a:sy n="76" d="100"/>
        </p:scale>
        <p:origin x="508" y="-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B7C262-3D32-D140-A18B-4488B9250C45}" type="datetimeFigureOut">
              <a:rPr lang="de-DE" smtClean="0"/>
              <a:t>17.07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E0AE99-00A8-364F-B132-32EDD63F96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0294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bgerundetes Rechteck 4">
            <a:extLst>
              <a:ext uri="{FF2B5EF4-FFF2-40B4-BE49-F238E27FC236}">
                <a16:creationId xmlns:a16="http://schemas.microsoft.com/office/drawing/2014/main" id="{9E6423AA-3463-4AFB-3779-0BAE8DA5F50E}"/>
              </a:ext>
            </a:extLst>
          </p:cNvPr>
          <p:cNvSpPr/>
          <p:nvPr userDrawn="1"/>
        </p:nvSpPr>
        <p:spPr>
          <a:xfrm>
            <a:off x="394773" y="1316736"/>
            <a:ext cx="11265482" cy="4890100"/>
          </a:xfrm>
          <a:prstGeom prst="roundRect">
            <a:avLst>
              <a:gd name="adj" fmla="val 4500"/>
            </a:avLst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/>
          </a:p>
        </p:txBody>
      </p:sp>
      <p:sp>
        <p:nvSpPr>
          <p:cNvPr id="6" name="Freihandform 5">
            <a:extLst>
              <a:ext uri="{FF2B5EF4-FFF2-40B4-BE49-F238E27FC236}">
                <a16:creationId xmlns:a16="http://schemas.microsoft.com/office/drawing/2014/main" id="{92A230A8-4FF3-418F-EF9B-F6647685AB16}"/>
              </a:ext>
            </a:extLst>
          </p:cNvPr>
          <p:cNvSpPr>
            <a:spLocks noChangeAspect="1"/>
          </p:cNvSpPr>
          <p:nvPr userDrawn="1"/>
        </p:nvSpPr>
        <p:spPr>
          <a:xfrm>
            <a:off x="404547" y="2128841"/>
            <a:ext cx="924373" cy="1987349"/>
          </a:xfrm>
          <a:custGeom>
            <a:avLst/>
            <a:gdLst>
              <a:gd name="connsiteX0" fmla="*/ 0 w 919734"/>
              <a:gd name="connsiteY0" fmla="*/ 1729158 h 1977377"/>
              <a:gd name="connsiteX1" fmla="*/ 57655 w 919734"/>
              <a:gd name="connsiteY1" fmla="*/ 1729158 h 1977377"/>
              <a:gd name="connsiteX2" fmla="*/ 737350 w 919734"/>
              <a:gd name="connsiteY2" fmla="*/ 1729158 h 1977377"/>
              <a:gd name="connsiteX3" fmla="*/ 737350 w 919734"/>
              <a:gd name="connsiteY3" fmla="*/ 1977377 h 1977377"/>
              <a:gd name="connsiteX4" fmla="*/ 0 w 919734"/>
              <a:gd name="connsiteY4" fmla="*/ 1977377 h 1977377"/>
              <a:gd name="connsiteX5" fmla="*/ 0 w 919734"/>
              <a:gd name="connsiteY5" fmla="*/ 1296734 h 1977377"/>
              <a:gd name="connsiteX6" fmla="*/ 817604 w 919734"/>
              <a:gd name="connsiteY6" fmla="*/ 1296734 h 1977377"/>
              <a:gd name="connsiteX7" fmla="*/ 817604 w 919734"/>
              <a:gd name="connsiteY7" fmla="*/ 1545460 h 1977377"/>
              <a:gd name="connsiteX8" fmla="*/ 119240 w 919734"/>
              <a:gd name="connsiteY8" fmla="*/ 1545460 h 1977377"/>
              <a:gd name="connsiteX9" fmla="*/ 0 w 919734"/>
              <a:gd name="connsiteY9" fmla="*/ 1545460 h 1977377"/>
              <a:gd name="connsiteX10" fmla="*/ 826111 w 919734"/>
              <a:gd name="connsiteY10" fmla="*/ 863798 h 1977377"/>
              <a:gd name="connsiteX11" fmla="*/ 826111 w 919734"/>
              <a:gd name="connsiteY11" fmla="*/ 1112524 h 1977377"/>
              <a:gd name="connsiteX12" fmla="*/ 125679 w 919734"/>
              <a:gd name="connsiteY12" fmla="*/ 1112524 h 1977377"/>
              <a:gd name="connsiteX13" fmla="*/ 0 w 919734"/>
              <a:gd name="connsiteY13" fmla="*/ 1112524 h 1977377"/>
              <a:gd name="connsiteX14" fmla="*/ 0 w 919734"/>
              <a:gd name="connsiteY14" fmla="*/ 864321 h 1977377"/>
              <a:gd name="connsiteX15" fmla="*/ 125864 w 919734"/>
              <a:gd name="connsiteY15" fmla="*/ 864321 h 1977377"/>
              <a:gd name="connsiteX16" fmla="*/ 826111 w 919734"/>
              <a:gd name="connsiteY16" fmla="*/ 864321 h 1977377"/>
              <a:gd name="connsiteX17" fmla="*/ 0 w 919734"/>
              <a:gd name="connsiteY17" fmla="*/ 431899 h 1977377"/>
              <a:gd name="connsiteX18" fmla="*/ 760454 w 919734"/>
              <a:gd name="connsiteY18" fmla="*/ 431899 h 1977377"/>
              <a:gd name="connsiteX19" fmla="*/ 760454 w 919734"/>
              <a:gd name="connsiteY19" fmla="*/ 680117 h 1977377"/>
              <a:gd name="connsiteX20" fmla="*/ 75416 w 919734"/>
              <a:gd name="connsiteY20" fmla="*/ 680117 h 1977377"/>
              <a:gd name="connsiteX21" fmla="*/ 0 w 919734"/>
              <a:gd name="connsiteY21" fmla="*/ 680117 h 1977377"/>
              <a:gd name="connsiteX22" fmla="*/ 0 w 919734"/>
              <a:gd name="connsiteY22" fmla="*/ 0 h 1977377"/>
              <a:gd name="connsiteX23" fmla="*/ 612118 w 919734"/>
              <a:gd name="connsiteY23" fmla="*/ 0 h 1977377"/>
              <a:gd name="connsiteX24" fmla="*/ 612523 w 919734"/>
              <a:gd name="connsiteY24" fmla="*/ 0 h 1977377"/>
              <a:gd name="connsiteX25" fmla="*/ 612523 w 919734"/>
              <a:gd name="connsiteY25" fmla="*/ 248218 h 1977377"/>
              <a:gd name="connsiteX26" fmla="*/ 0 w 919734"/>
              <a:gd name="connsiteY26" fmla="*/ 248218 h 197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19734" h="1977377">
                <a:moveTo>
                  <a:pt x="0" y="1729158"/>
                </a:moveTo>
                <a:lnTo>
                  <a:pt x="57655" y="1729158"/>
                </a:lnTo>
                <a:cubicBezTo>
                  <a:pt x="399995" y="1729158"/>
                  <a:pt x="645856" y="1729158"/>
                  <a:pt x="737350" y="1729158"/>
                </a:cubicBezTo>
                <a:cubicBezTo>
                  <a:pt x="862181" y="1729158"/>
                  <a:pt x="862181" y="1977377"/>
                  <a:pt x="737350" y="1977377"/>
                </a:cubicBezTo>
                <a:lnTo>
                  <a:pt x="0" y="1977377"/>
                </a:lnTo>
                <a:close/>
                <a:moveTo>
                  <a:pt x="0" y="1296734"/>
                </a:moveTo>
                <a:lnTo>
                  <a:pt x="817604" y="1296734"/>
                </a:lnTo>
                <a:cubicBezTo>
                  <a:pt x="942430" y="1296734"/>
                  <a:pt x="942430" y="1545460"/>
                  <a:pt x="817604" y="1545460"/>
                </a:cubicBezTo>
                <a:cubicBezTo>
                  <a:pt x="723602" y="1545460"/>
                  <a:pt x="470988" y="1545460"/>
                  <a:pt x="119240" y="1545460"/>
                </a:cubicBezTo>
                <a:lnTo>
                  <a:pt x="0" y="1545460"/>
                </a:lnTo>
                <a:close/>
                <a:moveTo>
                  <a:pt x="826111" y="863798"/>
                </a:moveTo>
                <a:cubicBezTo>
                  <a:pt x="950942" y="863798"/>
                  <a:pt x="950942" y="1112524"/>
                  <a:pt x="826111" y="1112524"/>
                </a:cubicBezTo>
                <a:cubicBezTo>
                  <a:pt x="731806" y="1112524"/>
                  <a:pt x="478446" y="1112524"/>
                  <a:pt x="125679" y="1112524"/>
                </a:cubicBezTo>
                <a:lnTo>
                  <a:pt x="0" y="1112524"/>
                </a:lnTo>
                <a:lnTo>
                  <a:pt x="0" y="864321"/>
                </a:lnTo>
                <a:lnTo>
                  <a:pt x="125864" y="864321"/>
                </a:lnTo>
                <a:cubicBezTo>
                  <a:pt x="478584" y="864321"/>
                  <a:pt x="731882" y="864321"/>
                  <a:pt x="826111" y="864321"/>
                </a:cubicBezTo>
                <a:close/>
                <a:moveTo>
                  <a:pt x="0" y="431899"/>
                </a:moveTo>
                <a:lnTo>
                  <a:pt x="760454" y="431899"/>
                </a:lnTo>
                <a:cubicBezTo>
                  <a:pt x="885285" y="431899"/>
                  <a:pt x="885285" y="680117"/>
                  <a:pt x="760454" y="680117"/>
                </a:cubicBezTo>
                <a:cubicBezTo>
                  <a:pt x="668276" y="680117"/>
                  <a:pt x="420477" y="680117"/>
                  <a:pt x="75416" y="680117"/>
                </a:cubicBezTo>
                <a:lnTo>
                  <a:pt x="0" y="680117"/>
                </a:lnTo>
                <a:close/>
                <a:moveTo>
                  <a:pt x="0" y="0"/>
                </a:moveTo>
                <a:lnTo>
                  <a:pt x="612118" y="0"/>
                </a:lnTo>
                <a:lnTo>
                  <a:pt x="612523" y="0"/>
                </a:lnTo>
                <a:cubicBezTo>
                  <a:pt x="737354" y="0"/>
                  <a:pt x="737354" y="248218"/>
                  <a:pt x="612523" y="248218"/>
                </a:cubicBezTo>
                <a:lnTo>
                  <a:pt x="0" y="248218"/>
                </a:lnTo>
                <a:close/>
              </a:path>
            </a:pathLst>
          </a:custGeom>
          <a:solidFill>
            <a:schemeClr val="accent4"/>
          </a:solidFill>
          <a:ln w="950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2DBED4-AF0B-D202-688C-8DF1A3F97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397" y="2019600"/>
            <a:ext cx="9458960" cy="1220400"/>
          </a:xfrm>
        </p:spPr>
        <p:txBody>
          <a:bodyPr vert="horz" lIns="0" tIns="45720" rIns="91440" bIns="45720" rtlCol="0" anchor="ctr">
            <a:normAutofit/>
          </a:bodyPr>
          <a:lstStyle>
            <a:lvl1pPr>
              <a:defRPr lang="de-DE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81" name="Textplatzhalter 80">
            <a:extLst>
              <a:ext uri="{FF2B5EF4-FFF2-40B4-BE49-F238E27FC236}">
                <a16:creationId xmlns:a16="http://schemas.microsoft.com/office/drawing/2014/main" id="{0B4D6645-CEED-7DD6-340C-1BE7A3D634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4397" y="3240000"/>
            <a:ext cx="9458960" cy="165735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Untertitel</a:t>
            </a:r>
          </a:p>
        </p:txBody>
      </p:sp>
      <p:pic>
        <p:nvPicPr>
          <p:cNvPr id="80" name="Grafik 79">
            <a:extLst>
              <a:ext uri="{FF2B5EF4-FFF2-40B4-BE49-F238E27FC236}">
                <a16:creationId xmlns:a16="http://schemas.microsoft.com/office/drawing/2014/main" id="{4792A1A9-1D88-461B-933F-B0D0583F0B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8626" y="311085"/>
            <a:ext cx="1537502" cy="5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59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reihandform 86">
            <a:extLst>
              <a:ext uri="{FF2B5EF4-FFF2-40B4-BE49-F238E27FC236}">
                <a16:creationId xmlns:a16="http://schemas.microsoft.com/office/drawing/2014/main" id="{7F3A379D-7F2F-8AFC-1E5A-D1EDD12E40B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66015 h 6858000"/>
              <a:gd name="connsiteX3" fmla="*/ 10036428 w 12192000"/>
              <a:gd name="connsiteY3" fmla="*/ 366015 h 6858000"/>
              <a:gd name="connsiteX4" fmla="*/ 9577136 w 12192000"/>
              <a:gd name="connsiteY4" fmla="*/ 825307 h 6858000"/>
              <a:gd name="connsiteX5" fmla="*/ 10036428 w 12192000"/>
              <a:gd name="connsiteY5" fmla="*/ 1284599 h 6858000"/>
              <a:gd name="connsiteX6" fmla="*/ 12192000 w 12192000"/>
              <a:gd name="connsiteY6" fmla="*/ 1284599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66015"/>
                </a:lnTo>
                <a:lnTo>
                  <a:pt x="10036428" y="366015"/>
                </a:lnTo>
                <a:cubicBezTo>
                  <a:pt x="9782768" y="366015"/>
                  <a:pt x="9577136" y="571647"/>
                  <a:pt x="9577136" y="825307"/>
                </a:cubicBezTo>
                <a:cubicBezTo>
                  <a:pt x="9577136" y="1078967"/>
                  <a:pt x="9782768" y="1284599"/>
                  <a:pt x="10036428" y="1284599"/>
                </a:cubicBezTo>
                <a:lnTo>
                  <a:pt x="12192000" y="128459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94" name="Abgerundetes Rechteck 93">
            <a:extLst>
              <a:ext uri="{FF2B5EF4-FFF2-40B4-BE49-F238E27FC236}">
                <a16:creationId xmlns:a16="http://schemas.microsoft.com/office/drawing/2014/main" id="{89A3E864-84EE-C059-E49A-E1A923E2582A}"/>
              </a:ext>
            </a:extLst>
          </p:cNvPr>
          <p:cNvSpPr/>
          <p:nvPr userDrawn="1"/>
        </p:nvSpPr>
        <p:spPr>
          <a:xfrm>
            <a:off x="9577136" y="366015"/>
            <a:ext cx="3912377" cy="91858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/>
          </a:p>
        </p:txBody>
      </p:sp>
      <p:sp>
        <p:nvSpPr>
          <p:cNvPr id="89" name="Bildplatzhalter 88">
            <a:extLst>
              <a:ext uri="{FF2B5EF4-FFF2-40B4-BE49-F238E27FC236}">
                <a16:creationId xmlns:a16="http://schemas.microsoft.com/office/drawing/2014/main" id="{9CAD4056-97CE-F03F-5278-612CF67908D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798763" y="0"/>
            <a:ext cx="9393237" cy="6857999"/>
          </a:xfrm>
          <a:custGeom>
            <a:avLst/>
            <a:gdLst>
              <a:gd name="connsiteX0" fmla="*/ 340157 w 9393237"/>
              <a:gd name="connsiteY0" fmla="*/ 0 h 6857999"/>
              <a:gd name="connsiteX1" fmla="*/ 9053080 w 9393237"/>
              <a:gd name="connsiteY1" fmla="*/ 0 h 6857999"/>
              <a:gd name="connsiteX2" fmla="*/ 9393237 w 9393237"/>
              <a:gd name="connsiteY2" fmla="*/ 340157 h 6857999"/>
              <a:gd name="connsiteX3" fmla="*/ 9393237 w 9393237"/>
              <a:gd name="connsiteY3" fmla="*/ 366015 h 6857999"/>
              <a:gd name="connsiteX4" fmla="*/ 7237665 w 9393237"/>
              <a:gd name="connsiteY4" fmla="*/ 366015 h 6857999"/>
              <a:gd name="connsiteX5" fmla="*/ 6778373 w 9393237"/>
              <a:gd name="connsiteY5" fmla="*/ 825307 h 6857999"/>
              <a:gd name="connsiteX6" fmla="*/ 7237665 w 9393237"/>
              <a:gd name="connsiteY6" fmla="*/ 1284599 h 6857999"/>
              <a:gd name="connsiteX7" fmla="*/ 9393237 w 9393237"/>
              <a:gd name="connsiteY7" fmla="*/ 1284599 h 6857999"/>
              <a:gd name="connsiteX8" fmla="*/ 9393237 w 9393237"/>
              <a:gd name="connsiteY8" fmla="*/ 6517842 h 6857999"/>
              <a:gd name="connsiteX9" fmla="*/ 9053080 w 9393237"/>
              <a:gd name="connsiteY9" fmla="*/ 6857999 h 6857999"/>
              <a:gd name="connsiteX10" fmla="*/ 340157 w 9393237"/>
              <a:gd name="connsiteY10" fmla="*/ 6857999 h 6857999"/>
              <a:gd name="connsiteX11" fmla="*/ 0 w 9393237"/>
              <a:gd name="connsiteY11" fmla="*/ 6517842 h 6857999"/>
              <a:gd name="connsiteX12" fmla="*/ 0 w 9393237"/>
              <a:gd name="connsiteY12" fmla="*/ 340157 h 6857999"/>
              <a:gd name="connsiteX13" fmla="*/ 340157 w 9393237"/>
              <a:gd name="connsiteY13" fmla="*/ 0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393237" h="6857999">
                <a:moveTo>
                  <a:pt x="340157" y="0"/>
                </a:moveTo>
                <a:lnTo>
                  <a:pt x="9053080" y="0"/>
                </a:lnTo>
                <a:cubicBezTo>
                  <a:pt x="9240944" y="0"/>
                  <a:pt x="9393237" y="152293"/>
                  <a:pt x="9393237" y="340157"/>
                </a:cubicBezTo>
                <a:lnTo>
                  <a:pt x="9393237" y="366015"/>
                </a:lnTo>
                <a:lnTo>
                  <a:pt x="7237665" y="366015"/>
                </a:lnTo>
                <a:cubicBezTo>
                  <a:pt x="6984005" y="366015"/>
                  <a:pt x="6778373" y="571647"/>
                  <a:pt x="6778373" y="825307"/>
                </a:cubicBezTo>
                <a:cubicBezTo>
                  <a:pt x="6778373" y="1078967"/>
                  <a:pt x="6984005" y="1284599"/>
                  <a:pt x="7237665" y="1284599"/>
                </a:cubicBezTo>
                <a:lnTo>
                  <a:pt x="9393237" y="1284599"/>
                </a:lnTo>
                <a:lnTo>
                  <a:pt x="9393237" y="6517842"/>
                </a:lnTo>
                <a:cubicBezTo>
                  <a:pt x="9393237" y="6705706"/>
                  <a:pt x="9240944" y="6857999"/>
                  <a:pt x="9053080" y="6857999"/>
                </a:cubicBezTo>
                <a:lnTo>
                  <a:pt x="340157" y="6857999"/>
                </a:lnTo>
                <a:cubicBezTo>
                  <a:pt x="152293" y="6857999"/>
                  <a:pt x="0" y="6705706"/>
                  <a:pt x="0" y="6517842"/>
                </a:cubicBezTo>
                <a:lnTo>
                  <a:pt x="0" y="340157"/>
                </a:lnTo>
                <a:cubicBezTo>
                  <a:pt x="0" y="152293"/>
                  <a:pt x="152293" y="0"/>
                  <a:pt x="340157" y="0"/>
                </a:cubicBezTo>
                <a:close/>
              </a:path>
            </a:pathLst>
          </a:custGeom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6074AE69-570F-293E-D09B-E1EF455D37CB}"/>
              </a:ext>
            </a:extLst>
          </p:cNvPr>
          <p:cNvSpPr/>
          <p:nvPr userDrawn="1"/>
        </p:nvSpPr>
        <p:spPr>
          <a:xfrm>
            <a:off x="0" y="304884"/>
            <a:ext cx="1483114" cy="3188613"/>
          </a:xfrm>
          <a:custGeom>
            <a:avLst/>
            <a:gdLst>
              <a:gd name="connsiteX0" fmla="*/ 0 w 919734"/>
              <a:gd name="connsiteY0" fmla="*/ 1729158 h 1977377"/>
              <a:gd name="connsiteX1" fmla="*/ 57655 w 919734"/>
              <a:gd name="connsiteY1" fmla="*/ 1729158 h 1977377"/>
              <a:gd name="connsiteX2" fmla="*/ 737350 w 919734"/>
              <a:gd name="connsiteY2" fmla="*/ 1729158 h 1977377"/>
              <a:gd name="connsiteX3" fmla="*/ 737350 w 919734"/>
              <a:gd name="connsiteY3" fmla="*/ 1977377 h 1977377"/>
              <a:gd name="connsiteX4" fmla="*/ 0 w 919734"/>
              <a:gd name="connsiteY4" fmla="*/ 1977377 h 1977377"/>
              <a:gd name="connsiteX5" fmla="*/ 0 w 919734"/>
              <a:gd name="connsiteY5" fmla="*/ 1296734 h 1977377"/>
              <a:gd name="connsiteX6" fmla="*/ 817604 w 919734"/>
              <a:gd name="connsiteY6" fmla="*/ 1296734 h 1977377"/>
              <a:gd name="connsiteX7" fmla="*/ 817604 w 919734"/>
              <a:gd name="connsiteY7" fmla="*/ 1545460 h 1977377"/>
              <a:gd name="connsiteX8" fmla="*/ 119240 w 919734"/>
              <a:gd name="connsiteY8" fmla="*/ 1545460 h 1977377"/>
              <a:gd name="connsiteX9" fmla="*/ 0 w 919734"/>
              <a:gd name="connsiteY9" fmla="*/ 1545460 h 1977377"/>
              <a:gd name="connsiteX10" fmla="*/ 826111 w 919734"/>
              <a:gd name="connsiteY10" fmla="*/ 863798 h 1977377"/>
              <a:gd name="connsiteX11" fmla="*/ 826111 w 919734"/>
              <a:gd name="connsiteY11" fmla="*/ 1112524 h 1977377"/>
              <a:gd name="connsiteX12" fmla="*/ 125679 w 919734"/>
              <a:gd name="connsiteY12" fmla="*/ 1112524 h 1977377"/>
              <a:gd name="connsiteX13" fmla="*/ 0 w 919734"/>
              <a:gd name="connsiteY13" fmla="*/ 1112524 h 1977377"/>
              <a:gd name="connsiteX14" fmla="*/ 0 w 919734"/>
              <a:gd name="connsiteY14" fmla="*/ 864321 h 1977377"/>
              <a:gd name="connsiteX15" fmla="*/ 125864 w 919734"/>
              <a:gd name="connsiteY15" fmla="*/ 864321 h 1977377"/>
              <a:gd name="connsiteX16" fmla="*/ 826111 w 919734"/>
              <a:gd name="connsiteY16" fmla="*/ 864321 h 1977377"/>
              <a:gd name="connsiteX17" fmla="*/ 0 w 919734"/>
              <a:gd name="connsiteY17" fmla="*/ 431899 h 1977377"/>
              <a:gd name="connsiteX18" fmla="*/ 760454 w 919734"/>
              <a:gd name="connsiteY18" fmla="*/ 431899 h 1977377"/>
              <a:gd name="connsiteX19" fmla="*/ 760454 w 919734"/>
              <a:gd name="connsiteY19" fmla="*/ 680117 h 1977377"/>
              <a:gd name="connsiteX20" fmla="*/ 75416 w 919734"/>
              <a:gd name="connsiteY20" fmla="*/ 680117 h 1977377"/>
              <a:gd name="connsiteX21" fmla="*/ 0 w 919734"/>
              <a:gd name="connsiteY21" fmla="*/ 680117 h 1977377"/>
              <a:gd name="connsiteX22" fmla="*/ 0 w 919734"/>
              <a:gd name="connsiteY22" fmla="*/ 0 h 1977377"/>
              <a:gd name="connsiteX23" fmla="*/ 612118 w 919734"/>
              <a:gd name="connsiteY23" fmla="*/ 0 h 1977377"/>
              <a:gd name="connsiteX24" fmla="*/ 612523 w 919734"/>
              <a:gd name="connsiteY24" fmla="*/ 0 h 1977377"/>
              <a:gd name="connsiteX25" fmla="*/ 612523 w 919734"/>
              <a:gd name="connsiteY25" fmla="*/ 248218 h 1977377"/>
              <a:gd name="connsiteX26" fmla="*/ 0 w 919734"/>
              <a:gd name="connsiteY26" fmla="*/ 248218 h 197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19734" h="1977377">
                <a:moveTo>
                  <a:pt x="0" y="1729158"/>
                </a:moveTo>
                <a:lnTo>
                  <a:pt x="57655" y="1729158"/>
                </a:lnTo>
                <a:cubicBezTo>
                  <a:pt x="399995" y="1729158"/>
                  <a:pt x="645856" y="1729158"/>
                  <a:pt x="737350" y="1729158"/>
                </a:cubicBezTo>
                <a:cubicBezTo>
                  <a:pt x="862181" y="1729158"/>
                  <a:pt x="862181" y="1977377"/>
                  <a:pt x="737350" y="1977377"/>
                </a:cubicBezTo>
                <a:lnTo>
                  <a:pt x="0" y="1977377"/>
                </a:lnTo>
                <a:close/>
                <a:moveTo>
                  <a:pt x="0" y="1296734"/>
                </a:moveTo>
                <a:lnTo>
                  <a:pt x="817604" y="1296734"/>
                </a:lnTo>
                <a:cubicBezTo>
                  <a:pt x="942430" y="1296734"/>
                  <a:pt x="942430" y="1545460"/>
                  <a:pt x="817604" y="1545460"/>
                </a:cubicBezTo>
                <a:cubicBezTo>
                  <a:pt x="723602" y="1545460"/>
                  <a:pt x="470988" y="1545460"/>
                  <a:pt x="119240" y="1545460"/>
                </a:cubicBezTo>
                <a:lnTo>
                  <a:pt x="0" y="1545460"/>
                </a:lnTo>
                <a:close/>
                <a:moveTo>
                  <a:pt x="826111" y="863798"/>
                </a:moveTo>
                <a:cubicBezTo>
                  <a:pt x="950942" y="863798"/>
                  <a:pt x="950942" y="1112524"/>
                  <a:pt x="826111" y="1112524"/>
                </a:cubicBezTo>
                <a:cubicBezTo>
                  <a:pt x="731806" y="1112524"/>
                  <a:pt x="478446" y="1112524"/>
                  <a:pt x="125679" y="1112524"/>
                </a:cubicBezTo>
                <a:lnTo>
                  <a:pt x="0" y="1112524"/>
                </a:lnTo>
                <a:lnTo>
                  <a:pt x="0" y="864321"/>
                </a:lnTo>
                <a:lnTo>
                  <a:pt x="125864" y="864321"/>
                </a:lnTo>
                <a:cubicBezTo>
                  <a:pt x="478584" y="864321"/>
                  <a:pt x="731882" y="864321"/>
                  <a:pt x="826111" y="864321"/>
                </a:cubicBezTo>
                <a:close/>
                <a:moveTo>
                  <a:pt x="0" y="431899"/>
                </a:moveTo>
                <a:lnTo>
                  <a:pt x="760454" y="431899"/>
                </a:lnTo>
                <a:cubicBezTo>
                  <a:pt x="885285" y="431899"/>
                  <a:pt x="885285" y="680117"/>
                  <a:pt x="760454" y="680117"/>
                </a:cubicBezTo>
                <a:cubicBezTo>
                  <a:pt x="668276" y="680117"/>
                  <a:pt x="420477" y="680117"/>
                  <a:pt x="75416" y="680117"/>
                </a:cubicBezTo>
                <a:lnTo>
                  <a:pt x="0" y="680117"/>
                </a:lnTo>
                <a:close/>
                <a:moveTo>
                  <a:pt x="0" y="0"/>
                </a:moveTo>
                <a:lnTo>
                  <a:pt x="612118" y="0"/>
                </a:lnTo>
                <a:lnTo>
                  <a:pt x="612523" y="0"/>
                </a:lnTo>
                <a:cubicBezTo>
                  <a:pt x="737354" y="0"/>
                  <a:pt x="737354" y="248218"/>
                  <a:pt x="612523" y="248218"/>
                </a:cubicBezTo>
                <a:lnTo>
                  <a:pt x="0" y="248218"/>
                </a:lnTo>
                <a:close/>
              </a:path>
            </a:pathLst>
          </a:custGeom>
          <a:solidFill>
            <a:schemeClr val="accent4"/>
          </a:solidFill>
          <a:ln w="950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1" name="Textplatzhalter 80">
            <a:extLst>
              <a:ext uri="{FF2B5EF4-FFF2-40B4-BE49-F238E27FC236}">
                <a16:creationId xmlns:a16="http://schemas.microsoft.com/office/drawing/2014/main" id="{0B4D6645-CEED-7DD6-340C-1BE7A3D634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4399200"/>
            <a:ext cx="6739200" cy="3438452"/>
          </a:xfrm>
          <a:prstGeom prst="roundRect">
            <a:avLst>
              <a:gd name="adj" fmla="val 9856"/>
            </a:avLst>
          </a:prstGeom>
          <a:solidFill>
            <a:schemeClr val="accent5"/>
          </a:solidFill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B2DBED4-AF0B-D202-688C-8DF1A3F97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5282"/>
            <a:ext cx="6037832" cy="2648244"/>
          </a:xfrm>
          <a:prstGeom prst="roundRect">
            <a:avLst>
              <a:gd name="adj" fmla="val 11614"/>
            </a:avLst>
          </a:prstGeom>
          <a:solidFill>
            <a:schemeClr val="accent1"/>
          </a:solidFill>
        </p:spPr>
        <p:txBody>
          <a:bodyPr vert="horz" lIns="180000" tIns="45720" rIns="91440" bIns="45720" rtlCol="0" anchor="t">
            <a:normAutofit/>
          </a:bodyPr>
          <a:lstStyle>
            <a:lvl1pPr>
              <a:defRPr lang="de-DE" sz="4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3" name="Textplatzhalter 92">
            <a:extLst>
              <a:ext uri="{FF2B5EF4-FFF2-40B4-BE49-F238E27FC236}">
                <a16:creationId xmlns:a16="http://schemas.microsoft.com/office/drawing/2014/main" id="{2F032887-C1AA-AD75-AB1B-6D5696CC37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0223" y="4780800"/>
            <a:ext cx="5765595" cy="153828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Untertitel Mastertextformat bearbeiten</a:t>
            </a:r>
          </a:p>
        </p:txBody>
      </p:sp>
      <p:pic>
        <p:nvPicPr>
          <p:cNvPr id="83" name="Grafik 82">
            <a:extLst>
              <a:ext uri="{FF2B5EF4-FFF2-40B4-BE49-F238E27FC236}">
                <a16:creationId xmlns:a16="http://schemas.microsoft.com/office/drawing/2014/main" id="{ABF07488-E7A3-4E70-8563-7EC7ED27BB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4778" y="520944"/>
            <a:ext cx="1954165" cy="671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8153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7988" y="1554954"/>
            <a:ext cx="10945812" cy="479028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7F5B38A-3D2C-9142-D40F-9F68BD80BD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173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5715E5-5506-F5AE-1C8E-E2E0FFBD6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Datumsplatzhalter 79">
            <a:extLst>
              <a:ext uri="{FF2B5EF4-FFF2-40B4-BE49-F238E27FC236}">
                <a16:creationId xmlns:a16="http://schemas.microsoft.com/office/drawing/2014/main" id="{1480B5ED-3E8B-7F0D-6E0B-98D84C7E3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 defTabSz="914400"/>
            <a:r>
              <a:rPr lang="de-DE"/>
              <a:t>Hamburg 11.12.2023</a:t>
            </a:r>
            <a:endParaRPr lang="de-DE" dirty="0"/>
          </a:p>
        </p:txBody>
      </p:sp>
      <p:sp>
        <p:nvSpPr>
          <p:cNvPr id="81" name="Fußzeilenplatzhalter 80">
            <a:extLst>
              <a:ext uri="{FF2B5EF4-FFF2-40B4-BE49-F238E27FC236}">
                <a16:creationId xmlns:a16="http://schemas.microsoft.com/office/drawing/2014/main" id="{70546296-F283-191C-E17A-F39D5454E8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  <p:sp>
        <p:nvSpPr>
          <p:cNvPr id="82" name="Foliennummernplatzhalter 81">
            <a:extLst>
              <a:ext uri="{FF2B5EF4-FFF2-40B4-BE49-F238E27FC236}">
                <a16:creationId xmlns:a16="http://schemas.microsoft.com/office/drawing/2014/main" id="{81B6CA71-5755-D129-7264-D6C65CEBF0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D02AA-849D-9B40-AF4B-26A62FAAF64D}" type="slidenum">
              <a:rPr lang="de-BJ" smtClean="0"/>
              <a:t>‹Nr.›</a:t>
            </a:fld>
            <a:endParaRPr lang="de-BJ"/>
          </a:p>
        </p:txBody>
      </p:sp>
      <p:sp>
        <p:nvSpPr>
          <p:cNvPr id="83" name="Titel 82">
            <a:extLst>
              <a:ext uri="{FF2B5EF4-FFF2-40B4-BE49-F238E27FC236}">
                <a16:creationId xmlns:a16="http://schemas.microsoft.com/office/drawing/2014/main" id="{4EB1359F-294E-7EC3-8E21-4495B0EB0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85" name="Grafik 84">
            <a:extLst>
              <a:ext uri="{FF2B5EF4-FFF2-40B4-BE49-F238E27FC236}">
                <a16:creationId xmlns:a16="http://schemas.microsoft.com/office/drawing/2014/main" id="{AFCF726D-EAFC-4556-941A-93FE4F31B05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28626" y="311085"/>
            <a:ext cx="1537502" cy="5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148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header Titel u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7F5B38A-3D2C-9142-D40F-9F68BD80BD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0263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F5B38A-3D2C-9142-D40F-9F68BD80B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94CAECA-FA36-27C8-7B6C-1D064883A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 defTabSz="914400"/>
            <a:r>
              <a:rPr lang="de-DE"/>
              <a:t>Hamburg 11.12.2023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787CDF6-E0BC-1B2E-07A7-C938C891C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99BD7F5-BC20-69F1-8B1A-533B69B5D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D02AA-849D-9B40-AF4B-26A62FAAF64D}" type="slidenum">
              <a:rPr lang="de-BJ" smtClean="0"/>
              <a:t>‹Nr.›</a:t>
            </a:fld>
            <a:endParaRPr lang="de-BJ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487AAFD9-05D5-DC22-141A-89599B08F8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81" name="Grafik 80">
            <a:extLst>
              <a:ext uri="{FF2B5EF4-FFF2-40B4-BE49-F238E27FC236}">
                <a16:creationId xmlns:a16="http://schemas.microsoft.com/office/drawing/2014/main" id="{C2B53F7B-1773-48F8-8F0F-90A24B4E117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28626" y="311085"/>
            <a:ext cx="1537502" cy="5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77104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ues He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ihandform 5">
            <a:extLst>
              <a:ext uri="{FF2B5EF4-FFF2-40B4-BE49-F238E27FC236}">
                <a16:creationId xmlns:a16="http://schemas.microsoft.com/office/drawing/2014/main" id="{A8606B1D-BD5E-6BAD-FD97-387DCBE1918A}"/>
              </a:ext>
            </a:extLst>
          </p:cNvPr>
          <p:cNvSpPr/>
          <p:nvPr userDrawn="1"/>
        </p:nvSpPr>
        <p:spPr>
          <a:xfrm>
            <a:off x="0" y="0"/>
            <a:ext cx="3192691" cy="6864108"/>
          </a:xfrm>
          <a:custGeom>
            <a:avLst/>
            <a:gdLst>
              <a:gd name="connsiteX0" fmla="*/ 0 w 919734"/>
              <a:gd name="connsiteY0" fmla="*/ 1729158 h 1977377"/>
              <a:gd name="connsiteX1" fmla="*/ 57655 w 919734"/>
              <a:gd name="connsiteY1" fmla="*/ 1729158 h 1977377"/>
              <a:gd name="connsiteX2" fmla="*/ 737350 w 919734"/>
              <a:gd name="connsiteY2" fmla="*/ 1729158 h 1977377"/>
              <a:gd name="connsiteX3" fmla="*/ 737350 w 919734"/>
              <a:gd name="connsiteY3" fmla="*/ 1977377 h 1977377"/>
              <a:gd name="connsiteX4" fmla="*/ 0 w 919734"/>
              <a:gd name="connsiteY4" fmla="*/ 1977377 h 1977377"/>
              <a:gd name="connsiteX5" fmla="*/ 0 w 919734"/>
              <a:gd name="connsiteY5" fmla="*/ 1296734 h 1977377"/>
              <a:gd name="connsiteX6" fmla="*/ 817604 w 919734"/>
              <a:gd name="connsiteY6" fmla="*/ 1296734 h 1977377"/>
              <a:gd name="connsiteX7" fmla="*/ 817604 w 919734"/>
              <a:gd name="connsiteY7" fmla="*/ 1545460 h 1977377"/>
              <a:gd name="connsiteX8" fmla="*/ 119240 w 919734"/>
              <a:gd name="connsiteY8" fmla="*/ 1545460 h 1977377"/>
              <a:gd name="connsiteX9" fmla="*/ 0 w 919734"/>
              <a:gd name="connsiteY9" fmla="*/ 1545460 h 1977377"/>
              <a:gd name="connsiteX10" fmla="*/ 826111 w 919734"/>
              <a:gd name="connsiteY10" fmla="*/ 863798 h 1977377"/>
              <a:gd name="connsiteX11" fmla="*/ 826111 w 919734"/>
              <a:gd name="connsiteY11" fmla="*/ 1112524 h 1977377"/>
              <a:gd name="connsiteX12" fmla="*/ 125679 w 919734"/>
              <a:gd name="connsiteY12" fmla="*/ 1112524 h 1977377"/>
              <a:gd name="connsiteX13" fmla="*/ 0 w 919734"/>
              <a:gd name="connsiteY13" fmla="*/ 1112524 h 1977377"/>
              <a:gd name="connsiteX14" fmla="*/ 0 w 919734"/>
              <a:gd name="connsiteY14" fmla="*/ 864321 h 1977377"/>
              <a:gd name="connsiteX15" fmla="*/ 125864 w 919734"/>
              <a:gd name="connsiteY15" fmla="*/ 864321 h 1977377"/>
              <a:gd name="connsiteX16" fmla="*/ 826111 w 919734"/>
              <a:gd name="connsiteY16" fmla="*/ 864321 h 1977377"/>
              <a:gd name="connsiteX17" fmla="*/ 0 w 919734"/>
              <a:gd name="connsiteY17" fmla="*/ 431899 h 1977377"/>
              <a:gd name="connsiteX18" fmla="*/ 760454 w 919734"/>
              <a:gd name="connsiteY18" fmla="*/ 431899 h 1977377"/>
              <a:gd name="connsiteX19" fmla="*/ 760454 w 919734"/>
              <a:gd name="connsiteY19" fmla="*/ 680117 h 1977377"/>
              <a:gd name="connsiteX20" fmla="*/ 75416 w 919734"/>
              <a:gd name="connsiteY20" fmla="*/ 680117 h 1977377"/>
              <a:gd name="connsiteX21" fmla="*/ 0 w 919734"/>
              <a:gd name="connsiteY21" fmla="*/ 680117 h 1977377"/>
              <a:gd name="connsiteX22" fmla="*/ 0 w 919734"/>
              <a:gd name="connsiteY22" fmla="*/ 0 h 1977377"/>
              <a:gd name="connsiteX23" fmla="*/ 612118 w 919734"/>
              <a:gd name="connsiteY23" fmla="*/ 0 h 1977377"/>
              <a:gd name="connsiteX24" fmla="*/ 612523 w 919734"/>
              <a:gd name="connsiteY24" fmla="*/ 0 h 1977377"/>
              <a:gd name="connsiteX25" fmla="*/ 612523 w 919734"/>
              <a:gd name="connsiteY25" fmla="*/ 248218 h 1977377"/>
              <a:gd name="connsiteX26" fmla="*/ 0 w 919734"/>
              <a:gd name="connsiteY26" fmla="*/ 248218 h 197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19734" h="1977377">
                <a:moveTo>
                  <a:pt x="0" y="1729158"/>
                </a:moveTo>
                <a:lnTo>
                  <a:pt x="57655" y="1729158"/>
                </a:lnTo>
                <a:cubicBezTo>
                  <a:pt x="399995" y="1729158"/>
                  <a:pt x="645856" y="1729158"/>
                  <a:pt x="737350" y="1729158"/>
                </a:cubicBezTo>
                <a:cubicBezTo>
                  <a:pt x="862181" y="1729158"/>
                  <a:pt x="862181" y="1977377"/>
                  <a:pt x="737350" y="1977377"/>
                </a:cubicBezTo>
                <a:lnTo>
                  <a:pt x="0" y="1977377"/>
                </a:lnTo>
                <a:close/>
                <a:moveTo>
                  <a:pt x="0" y="1296734"/>
                </a:moveTo>
                <a:lnTo>
                  <a:pt x="817604" y="1296734"/>
                </a:lnTo>
                <a:cubicBezTo>
                  <a:pt x="942430" y="1296734"/>
                  <a:pt x="942430" y="1545460"/>
                  <a:pt x="817604" y="1545460"/>
                </a:cubicBezTo>
                <a:cubicBezTo>
                  <a:pt x="723602" y="1545460"/>
                  <a:pt x="470988" y="1545460"/>
                  <a:pt x="119240" y="1545460"/>
                </a:cubicBezTo>
                <a:lnTo>
                  <a:pt x="0" y="1545460"/>
                </a:lnTo>
                <a:close/>
                <a:moveTo>
                  <a:pt x="826111" y="863798"/>
                </a:moveTo>
                <a:cubicBezTo>
                  <a:pt x="950942" y="863798"/>
                  <a:pt x="950942" y="1112524"/>
                  <a:pt x="826111" y="1112524"/>
                </a:cubicBezTo>
                <a:cubicBezTo>
                  <a:pt x="731806" y="1112524"/>
                  <a:pt x="478446" y="1112524"/>
                  <a:pt x="125679" y="1112524"/>
                </a:cubicBezTo>
                <a:lnTo>
                  <a:pt x="0" y="1112524"/>
                </a:lnTo>
                <a:lnTo>
                  <a:pt x="0" y="864321"/>
                </a:lnTo>
                <a:lnTo>
                  <a:pt x="125864" y="864321"/>
                </a:lnTo>
                <a:cubicBezTo>
                  <a:pt x="478584" y="864321"/>
                  <a:pt x="731882" y="864321"/>
                  <a:pt x="826111" y="864321"/>
                </a:cubicBezTo>
                <a:close/>
                <a:moveTo>
                  <a:pt x="0" y="431899"/>
                </a:moveTo>
                <a:lnTo>
                  <a:pt x="760454" y="431899"/>
                </a:lnTo>
                <a:cubicBezTo>
                  <a:pt x="885285" y="431899"/>
                  <a:pt x="885285" y="680117"/>
                  <a:pt x="760454" y="680117"/>
                </a:cubicBezTo>
                <a:cubicBezTo>
                  <a:pt x="668276" y="680117"/>
                  <a:pt x="420477" y="680117"/>
                  <a:pt x="75416" y="680117"/>
                </a:cubicBezTo>
                <a:lnTo>
                  <a:pt x="0" y="680117"/>
                </a:lnTo>
                <a:close/>
                <a:moveTo>
                  <a:pt x="0" y="0"/>
                </a:moveTo>
                <a:lnTo>
                  <a:pt x="612118" y="0"/>
                </a:lnTo>
                <a:lnTo>
                  <a:pt x="612523" y="0"/>
                </a:lnTo>
                <a:cubicBezTo>
                  <a:pt x="737354" y="0"/>
                  <a:pt x="737354" y="248218"/>
                  <a:pt x="612523" y="248218"/>
                </a:cubicBezTo>
                <a:lnTo>
                  <a:pt x="0" y="24821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0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7F5B38A-3D2C-9142-D40F-9F68BD80BD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58647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7F5B38A-3D2C-9142-D40F-9F68BD80B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2000" y="315155"/>
            <a:ext cx="3258851" cy="543518"/>
          </a:xfrm>
        </p:spPr>
        <p:txBody>
          <a:bodyPr vert="horz" lIns="0" anchor="t" anchorCtr="0"/>
          <a:lstStyle>
            <a:lvl1pPr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de-DE" dirty="0"/>
              <a:t>Future </a:t>
            </a:r>
            <a:r>
              <a:rPr lang="de-DE" dirty="0" err="1"/>
              <a:t>programme</a:t>
            </a:r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A96CE72-FCE1-4E89-915D-5FE0BA7DC66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428626" y="311085"/>
            <a:ext cx="1537502" cy="5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45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AE348EDA-5B7A-4CAA-9E72-5B115772482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28626" y="311085"/>
            <a:ext cx="1537502" cy="528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654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O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1628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00" y="828000"/>
            <a:ext cx="10515600" cy="840150"/>
          </a:xfrm>
          <a:prstGeom prst="rect">
            <a:avLst/>
          </a:prstGeom>
        </p:spPr>
        <p:txBody>
          <a:bodyPr vert="horz" lIns="0" tIns="0" rIns="90000" bIns="45720" rtlCol="0" anchor="t" anchorCtr="0">
            <a:noAutofit/>
          </a:bodyPr>
          <a:lstStyle/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825625"/>
            <a:ext cx="10921800" cy="435133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0901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de-DE" sz="1200" smtClean="0">
                <a:solidFill>
                  <a:schemeClr val="tx1">
                    <a:tint val="75000"/>
                  </a:schemeClr>
                </a:solidFill>
                <a:latin typeface="Trebuchet MS" panose="020B0703020202090204" pitchFamily="34" charset="0"/>
              </a:defRPr>
            </a:lvl1pPr>
          </a:lstStyle>
          <a:p>
            <a:pPr algn="r" defTabSz="914400"/>
            <a:r>
              <a:rPr lang="de-DE" dirty="0"/>
              <a:t>Berlin  </a:t>
            </a:r>
            <a:r>
              <a:rPr lang="de-DE" dirty="0" err="1"/>
              <a:t>July</a:t>
            </a:r>
            <a:r>
              <a:rPr lang="de-DE" dirty="0"/>
              <a:t> 202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799" y="6356350"/>
            <a:ext cx="5429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AD02AA-849D-9B40-AF4B-26A62FAAF64D}" type="slidenum">
              <a:rPr lang="de-BJ" smtClean="0"/>
              <a:t>‹Nr.›</a:t>
            </a:fld>
            <a:endParaRPr lang="de-BJ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7BEFFBF-15A2-721B-7096-945546A037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779270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1" imgW="7772400" imgH="10058400" progId="TCLayout.ActiveDocument.1">
                  <p:embed/>
                </p:oleObj>
              </mc:Choice>
              <mc:Fallback>
                <p:oleObj name="think-cell Folie" r:id="rId11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FA3207-E145-EE58-4EB1-1A2393801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7FA05BD-0631-EF06-1ACF-E27AB576E6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356350"/>
            <a:ext cx="7786449" cy="365125"/>
          </a:xfrm>
          <a:prstGeom prst="rect">
            <a:avLst/>
          </a:prstGeom>
          <a:noFill/>
        </p:spPr>
        <p:txBody>
          <a:bodyPr wrap="square" lIns="0" rtlCol="0" anchor="ctr">
            <a:noAutofit/>
          </a:bodyPr>
          <a:lstStyle>
            <a:lvl1pPr>
              <a:defRPr lang="de-DE" sz="1000" b="1" dirty="0"/>
            </a:lvl1pPr>
          </a:lstStyle>
          <a:p>
            <a:pPr defTabSz="914400"/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30731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2" r:id="rId2"/>
    <p:sldLayoutId id="2147483714" r:id="rId3"/>
    <p:sldLayoutId id="2147483727" r:id="rId4"/>
    <p:sldLayoutId id="2147483728" r:id="rId5"/>
    <p:sldLayoutId id="2147483719" r:id="rId6"/>
    <p:sldLayoutId id="2147483726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 userDrawn="1">
          <p15:clr>
            <a:srgbClr val="F26B43"/>
          </p15:clr>
        </p15:guide>
        <p15:guide id="2" orient="horz" pos="210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10" Type="http://schemas.openxmlformats.org/officeDocument/2006/relationships/image" Target="../media/image13.emf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5.jp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emf"/><Relationship Id="rId12" Type="http://schemas.openxmlformats.org/officeDocument/2006/relationships/image" Target="../media/image2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0.emf"/><Relationship Id="rId11" Type="http://schemas.openxmlformats.org/officeDocument/2006/relationships/image" Target="../media/image13.emf"/><Relationship Id="rId5" Type="http://schemas.openxmlformats.org/officeDocument/2006/relationships/image" Target="../media/image19.emf"/><Relationship Id="rId10" Type="http://schemas.openxmlformats.org/officeDocument/2006/relationships/image" Target="../media/image24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857D0E-58F6-19AE-8E92-1DA193A5D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XX. Sitzung der/des</a:t>
            </a:r>
            <a:br>
              <a:rPr lang="de-DE" dirty="0"/>
            </a:br>
            <a:r>
              <a:rPr lang="de-DE" dirty="0"/>
              <a:t>DZHK Gremium </a:t>
            </a:r>
            <a:r>
              <a:rPr lang="de-DE" dirty="0" err="1"/>
              <a:t>xy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6C4D16B-1145-423F-1695-C063282DF3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 dirty="0"/>
              <a:t>xx. Monat 20xx, 12:00-15:00 Uhr</a:t>
            </a:r>
          </a:p>
          <a:p>
            <a:r>
              <a:rPr lang="de-DE" dirty="0"/>
              <a:t>Videokonferenz</a:t>
            </a:r>
          </a:p>
        </p:txBody>
      </p:sp>
    </p:spTree>
    <p:extLst>
      <p:ext uri="{BB962C8B-B14F-4D97-AF65-F5344CB8AC3E}">
        <p14:creationId xmlns:p14="http://schemas.microsoft.com/office/powerpoint/2010/main" val="1314857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Ein Bild, das Screenshot, Hand, Kunst, Finger enthält.&#10;&#10;Automatisch generierte Beschreibung">
            <a:extLst>
              <a:ext uri="{FF2B5EF4-FFF2-40B4-BE49-F238E27FC236}">
                <a16:creationId xmlns:a16="http://schemas.microsoft.com/office/drawing/2014/main" id="{A78C0220-E177-9AB8-9C3C-98ED4D4C806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l="4455" r="4455"/>
          <a:stretch/>
        </p:blipFill>
        <p:spPr/>
      </p:pic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590E83AE-74D4-CCA7-5B0D-FB1970E29C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C685CEF7-A0A5-A380-B89F-70355EE394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4000" b="1" dirty="0"/>
              <a:t>XX. Sitzung der/des</a:t>
            </a:r>
            <a:br>
              <a:rPr lang="de-DE" altLang="de-DE" sz="4000" b="1" dirty="0"/>
            </a:br>
            <a:r>
              <a:rPr lang="de-DE" altLang="de-DE" sz="4000" b="1" dirty="0"/>
              <a:t>DZHK Gremium </a:t>
            </a:r>
            <a:r>
              <a:rPr lang="de-DE" altLang="de-DE" sz="4000" b="1" dirty="0" err="1"/>
              <a:t>xy</a:t>
            </a:r>
            <a:endParaRPr lang="de-DE" dirty="0"/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C0BC8692-62B6-9A51-8078-D5E87CD9D20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altLang="de-DE" dirty="0">
                <a:solidFill>
                  <a:schemeClr val="bg1"/>
                </a:solidFill>
              </a:rPr>
              <a:t>xx. Monat 20xx, 12:00-15:00 Uhr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de-DE" altLang="de-DE" dirty="0">
                <a:solidFill>
                  <a:schemeClr val="bg1"/>
                </a:solidFill>
              </a:rPr>
              <a:t>Alternatives Coverchartdesign</a:t>
            </a:r>
          </a:p>
        </p:txBody>
      </p:sp>
    </p:spTree>
    <p:extLst>
      <p:ext uri="{BB962C8B-B14F-4D97-AF65-F5344CB8AC3E}">
        <p14:creationId xmlns:p14="http://schemas.microsoft.com/office/powerpoint/2010/main" val="1953490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20CC46-32A8-DD82-E296-0E11E6C3A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10515600" cy="633213"/>
          </a:xfrm>
        </p:spPr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D856C64-C6BD-56D1-0D8B-E01CAB58E6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071795A-1146-239B-4096-CE50D9BAE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D02AA-849D-9B40-AF4B-26A62FAAF64D}" type="slidenum">
              <a:rPr lang="de-BJ" smtClean="0"/>
              <a:t>3</a:t>
            </a:fld>
            <a:endParaRPr lang="de-BJ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2CCBD0B-9F9D-4D51-D012-9FDD51617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 dirty="0" err="1"/>
              <a:t>Foote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20145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636187-AAF4-D324-ED71-3A82351EE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10515600" cy="633213"/>
          </a:xfrm>
        </p:spPr>
        <p:txBody>
          <a:bodyPr/>
          <a:lstStyle/>
          <a:p>
            <a:r>
              <a:rPr lang="en-US" sz="2000" dirty="0"/>
              <a:t>Innovation Clusters – an integrated approach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8531E2B-8CBF-9CE7-7D7B-B5B6C20C0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356350"/>
            <a:ext cx="542925" cy="365125"/>
          </a:xfrm>
        </p:spPr>
        <p:txBody>
          <a:bodyPr/>
          <a:lstStyle/>
          <a:p>
            <a:fld id="{92AD02AA-849D-9B40-AF4B-26A62FAAF64D}" type="slidenum">
              <a:rPr lang="de-BJ" smtClean="0"/>
              <a:t>4</a:t>
            </a:fld>
            <a:endParaRPr lang="de-BJ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778697FA-69DB-0FC2-2502-C97A4450E705}"/>
              </a:ext>
            </a:extLst>
          </p:cNvPr>
          <p:cNvSpPr/>
          <p:nvPr/>
        </p:nvSpPr>
        <p:spPr>
          <a:xfrm>
            <a:off x="544360" y="1685961"/>
            <a:ext cx="4358641" cy="2353563"/>
          </a:xfrm>
          <a:prstGeom prst="roundRect">
            <a:avLst>
              <a:gd name="adj" fmla="val 10824"/>
            </a:avLst>
          </a:prstGeom>
          <a:solidFill>
            <a:srgbClr val="E63324">
              <a:alpha val="14888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0DF5BD94-E63D-ACDE-4DB9-F845C78DDF80}"/>
              </a:ext>
            </a:extLst>
          </p:cNvPr>
          <p:cNvSpPr/>
          <p:nvPr/>
        </p:nvSpPr>
        <p:spPr bwMode="auto">
          <a:xfrm>
            <a:off x="697305" y="2002444"/>
            <a:ext cx="4126501" cy="1849299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solidFill>
                  <a:schemeClr val="bg2">
                    <a:lumMod val="25000"/>
                  </a:schemeClr>
                </a:solidFill>
                <a:latin typeface="+mj-lt"/>
              </a:rPr>
              <a:t>INNOVATION CLUSTERS</a:t>
            </a:r>
            <a:r>
              <a:rPr kumimoji="0" lang="de-DE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ＭＳ Ｐゴシック" charset="0"/>
                <a:cs typeface="ＭＳ Ｐゴシック" charset="0"/>
              </a:rPr>
              <a:t>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ts val="2700"/>
              </a:lnSpc>
              <a:buSzPct val="9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  <a:ea typeface="ＭＳ Ｐゴシック" charset="0"/>
              </a:rPr>
              <a:t>Key topics in cardio-vascular research </a:t>
            </a:r>
          </a:p>
          <a:p>
            <a:pPr marL="342900" indent="-342900">
              <a:lnSpc>
                <a:spcPts val="2700"/>
              </a:lnSpc>
              <a:buSzPct val="9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  <a:ea typeface="ＭＳ Ｐゴシック" charset="0"/>
              </a:rPr>
              <a:t>All partner sites participating </a:t>
            </a:r>
          </a:p>
          <a:p>
            <a:pPr marL="342900" indent="-342900">
              <a:lnSpc>
                <a:spcPts val="2700"/>
              </a:lnSpc>
              <a:buSzPct val="90000"/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2">
                    <a:lumMod val="25000"/>
                  </a:schemeClr>
                </a:solidFill>
                <a:ea typeface="ＭＳ Ｐゴシック" charset="0"/>
              </a:rPr>
              <a:t>National and international relevance</a:t>
            </a:r>
            <a:endParaRPr lang="de-DE" sz="1600" dirty="0" err="1">
              <a:solidFill>
                <a:schemeClr val="bg2">
                  <a:lumMod val="25000"/>
                </a:schemeClr>
              </a:solidFill>
              <a:ea typeface="ＭＳ Ｐゴシック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924E0B87-78EB-E910-FD68-97EADB4B8FDB}"/>
              </a:ext>
            </a:extLst>
          </p:cNvPr>
          <p:cNvSpPr txBox="1"/>
          <p:nvPr/>
        </p:nvSpPr>
        <p:spPr>
          <a:xfrm>
            <a:off x="5169834" y="1974331"/>
            <a:ext cx="20180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dirty="0">
                <a:solidFill>
                  <a:schemeClr val="accent2"/>
                </a:solidFill>
                <a:cs typeface="Calibri Light" panose="020F0302020204030204" pitchFamily="34" charset="0"/>
              </a:rPr>
              <a:t>XYZ </a:t>
            </a:r>
            <a:r>
              <a:rPr lang="de-DE" sz="2000" dirty="0" err="1">
                <a:solidFill>
                  <a:schemeClr val="accent2"/>
                </a:solidFill>
                <a:cs typeface="Calibri Light" panose="020F0302020204030204" pitchFamily="34" charset="0"/>
              </a:rPr>
              <a:t>therapy</a:t>
            </a:r>
            <a:endParaRPr lang="de-DE" sz="2000" dirty="0">
              <a:solidFill>
                <a:schemeClr val="accent2"/>
              </a:solidFill>
              <a:cs typeface="Calibri Light" panose="020F0302020204030204" pitchFamily="34" charset="0"/>
            </a:endParaRPr>
          </a:p>
          <a:p>
            <a:pPr algn="ctr"/>
            <a:r>
              <a:rPr lang="de-DE" sz="1600" dirty="0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rPr>
              <a:t>(</a:t>
            </a:r>
            <a:r>
              <a:rPr lang="de-DE" sz="1600" dirty="0" err="1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rPr>
              <a:t>started</a:t>
            </a:r>
            <a:r>
              <a:rPr lang="de-DE" sz="1600" dirty="0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rPr>
              <a:t> 2018)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7F81E26-7B24-6317-BAB5-05B1509FFF0B}"/>
              </a:ext>
            </a:extLst>
          </p:cNvPr>
          <p:cNvSpPr/>
          <p:nvPr/>
        </p:nvSpPr>
        <p:spPr>
          <a:xfrm>
            <a:off x="5040462" y="4009585"/>
            <a:ext cx="227679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2000" dirty="0">
                <a:solidFill>
                  <a:schemeClr val="accent2"/>
                </a:solidFill>
                <a:cs typeface="Calibri Light" panose="020F0302020204030204" pitchFamily="34" charset="0"/>
              </a:rPr>
              <a:t>XYZ </a:t>
            </a:r>
          </a:p>
          <a:p>
            <a:pPr algn="ctr"/>
            <a:r>
              <a:rPr lang="de-DE" sz="2000" dirty="0">
                <a:solidFill>
                  <a:schemeClr val="accent2"/>
                </a:solidFill>
                <a:cs typeface="Calibri Light" panose="020F0302020204030204" pitchFamily="34" charset="0"/>
              </a:rPr>
              <a:t>Therapy</a:t>
            </a:r>
          </a:p>
          <a:p>
            <a:pPr algn="ctr"/>
            <a:r>
              <a:rPr lang="de-DE" sz="1600" dirty="0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rPr>
              <a:t>(2018-2024)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E40A20A-0895-16BC-06A6-131C9ECE8EED}"/>
              </a:ext>
            </a:extLst>
          </p:cNvPr>
          <p:cNvGrpSpPr/>
          <p:nvPr/>
        </p:nvGrpSpPr>
        <p:grpSpPr>
          <a:xfrm>
            <a:off x="8016364" y="1681931"/>
            <a:ext cx="3159586" cy="4319689"/>
            <a:chOff x="7598910" y="1724712"/>
            <a:chExt cx="3305584" cy="4519293"/>
          </a:xfrm>
        </p:grpSpPr>
        <p:sp>
          <p:nvSpPr>
            <p:cNvPr id="13" name="Rechteck: abgerundete Ecken 2">
              <a:extLst>
                <a:ext uri="{FF2B5EF4-FFF2-40B4-BE49-F238E27FC236}">
                  <a16:creationId xmlns:a16="http://schemas.microsoft.com/office/drawing/2014/main" id="{D2A821AC-29E9-1052-7145-A94C4823627C}"/>
                </a:ext>
              </a:extLst>
            </p:cNvPr>
            <p:cNvSpPr/>
            <p:nvPr/>
          </p:nvSpPr>
          <p:spPr>
            <a:xfrm>
              <a:off x="7598910" y="1724712"/>
              <a:ext cx="3305584" cy="4519293"/>
            </a:xfrm>
            <a:prstGeom prst="roundRect">
              <a:avLst>
                <a:gd name="adj" fmla="val 8936"/>
              </a:avLst>
            </a:prstGeom>
            <a:solidFill>
              <a:srgbClr val="F0F0F0"/>
            </a:solidFill>
            <a:ln>
              <a:noFill/>
            </a:ln>
            <a:effectLst>
              <a:outerShdw blurRad="50800" dist="38100" algn="l" rotWithShape="0">
                <a:prstClr val="black">
                  <a:alpha val="20000"/>
                </a:prstClr>
              </a:outerShdw>
            </a:effectLst>
          </p:spPr>
          <p:txBody>
            <a:bodyPr wrap="square" rtlCol="0" anchor="ctr">
              <a:spAutoFit/>
            </a:bodyPr>
            <a:lstStyle/>
            <a:p>
              <a:pPr algn="l" defTabSz="1219170" eaLnBrk="0" fontAlgn="base" hangingPunct="0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endParaRPr lang="de-DE" sz="2000" dirty="0">
                <a:solidFill>
                  <a:schemeClr val="bg2">
                    <a:lumMod val="25000"/>
                  </a:schemeClr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12D4B2B8-3A2B-A0B0-D7C5-B996AF4B3A15}"/>
                </a:ext>
              </a:extLst>
            </p:cNvPr>
            <p:cNvSpPr/>
            <p:nvPr/>
          </p:nvSpPr>
          <p:spPr>
            <a:xfrm>
              <a:off x="8076778" y="4424716"/>
              <a:ext cx="247535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Heart </a:t>
              </a:r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brain</a:t>
              </a:r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 </a:t>
              </a:r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interfaces</a:t>
              </a:r>
              <a:endParaRPr lang="de-DE" dirty="0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endParaRP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5E05ECA8-4865-1F2C-0019-8019298C669E}"/>
                </a:ext>
              </a:extLst>
            </p:cNvPr>
            <p:cNvSpPr/>
            <p:nvPr/>
          </p:nvSpPr>
          <p:spPr>
            <a:xfrm>
              <a:off x="7879405" y="1983001"/>
              <a:ext cx="2483372" cy="6463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Nucleic</a:t>
              </a:r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 </a:t>
              </a:r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acid</a:t>
              </a:r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 </a:t>
              </a:r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therapies</a:t>
              </a:r>
              <a:endParaRPr lang="de-DE" dirty="0">
                <a:solidFill>
                  <a:schemeClr val="bg2">
                    <a:lumMod val="25000"/>
                  </a:schemeClr>
                </a:solidFill>
                <a:cs typeface="Calibri Light" panose="020F0302020204030204" pitchFamily="34" charset="0"/>
              </a:endParaRPr>
            </a:p>
            <a:p>
              <a:pPr algn="ctr"/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(</a:t>
              </a:r>
              <a:r>
                <a:rPr lang="de-DE" dirty="0" err="1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extension</a:t>
              </a:r>
              <a:r>
                <a:rPr lang="de-DE" dirty="0">
                  <a:solidFill>
                    <a:schemeClr val="bg2">
                      <a:lumMod val="25000"/>
                    </a:schemeClr>
                  </a:solidFill>
                  <a:cs typeface="Calibri Light" panose="020F0302020204030204" pitchFamily="34" charset="0"/>
                </a:rPr>
                <a:t>)</a:t>
              </a:r>
            </a:p>
          </p:txBody>
        </p:sp>
        <p:grpSp>
          <p:nvGrpSpPr>
            <p:cNvPr id="16" name="Gruppieren 15">
              <a:extLst>
                <a:ext uri="{FF2B5EF4-FFF2-40B4-BE49-F238E27FC236}">
                  <a16:creationId xmlns:a16="http://schemas.microsoft.com/office/drawing/2014/main" id="{AC0D8985-50D5-65C0-C39E-317C37E3C3E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68666" y="2791049"/>
              <a:ext cx="1784211" cy="1335333"/>
              <a:chOff x="960339" y="1403985"/>
              <a:chExt cx="3150448" cy="2298129"/>
            </a:xfrm>
          </p:grpSpPr>
          <p:sp>
            <p:nvSpPr>
              <p:cNvPr id="22" name="Ellipse 34">
                <a:extLst>
                  <a:ext uri="{FF2B5EF4-FFF2-40B4-BE49-F238E27FC236}">
                    <a16:creationId xmlns:a16="http://schemas.microsoft.com/office/drawing/2014/main" id="{C9356F57-67FC-3570-B443-9ED0B93B965B}"/>
                  </a:ext>
                </a:extLst>
              </p:cNvPr>
              <p:cNvSpPr/>
              <p:nvPr/>
            </p:nvSpPr>
            <p:spPr>
              <a:xfrm>
                <a:off x="1802953" y="1403985"/>
                <a:ext cx="2307834" cy="2298129"/>
              </a:xfrm>
              <a:prstGeom prst="ellipse">
                <a:avLst/>
              </a:prstGeom>
              <a:solidFill>
                <a:srgbClr val="0070C0">
                  <a:alpha val="18000"/>
                </a:srgb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l" defTabSz="1219170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sz="2000" dirty="0">
                  <a:solidFill>
                    <a:schemeClr val="bg2">
                      <a:lumMod val="25000"/>
                    </a:schemeClr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pic>
            <p:nvPicPr>
              <p:cNvPr id="23" name="Grafik 22">
                <a:extLst>
                  <a:ext uri="{FF2B5EF4-FFF2-40B4-BE49-F238E27FC236}">
                    <a16:creationId xmlns:a16="http://schemas.microsoft.com/office/drawing/2014/main" id="{9E5A7ACA-45B6-2934-A0A7-BF036CFF05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960339" y="1591108"/>
                <a:ext cx="2307832" cy="1935873"/>
              </a:xfrm>
              <a:prstGeom prst="rect">
                <a:avLst/>
              </a:prstGeom>
            </p:spPr>
          </p:pic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06E54DF5-1FAD-8150-1B12-518F33F62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rot="19884677">
                <a:off x="1786817" y="2317758"/>
                <a:ext cx="577123" cy="577123"/>
              </a:xfrm>
              <a:prstGeom prst="rect">
                <a:avLst/>
              </a:prstGeom>
            </p:spPr>
          </p:pic>
        </p:grp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89A63151-9F96-D574-DDAB-E53A493BBF2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102333" y="2893100"/>
              <a:ext cx="2259718" cy="3268382"/>
              <a:chOff x="3843881" y="-1808489"/>
              <a:chExt cx="3642686" cy="5268652"/>
            </a:xfrm>
          </p:grpSpPr>
          <p:sp>
            <p:nvSpPr>
              <p:cNvPr id="18" name="Ellipse 38">
                <a:extLst>
                  <a:ext uri="{FF2B5EF4-FFF2-40B4-BE49-F238E27FC236}">
                    <a16:creationId xmlns:a16="http://schemas.microsoft.com/office/drawing/2014/main" id="{0B2EC8E0-FBC8-B7C9-3289-FEC7371F00F6}"/>
                  </a:ext>
                </a:extLst>
              </p:cNvPr>
              <p:cNvSpPr/>
              <p:nvPr/>
            </p:nvSpPr>
            <p:spPr>
              <a:xfrm>
                <a:off x="4614890" y="1237021"/>
                <a:ext cx="2160001" cy="2160819"/>
              </a:xfrm>
              <a:prstGeom prst="ellipse">
                <a:avLst/>
              </a:prstGeom>
              <a:solidFill>
                <a:schemeClr val="accent5">
                  <a:alpha val="33000"/>
                </a:schemeClr>
              </a:solidFill>
              <a:ln>
                <a:noFill/>
              </a:ln>
            </p:spPr>
            <p:txBody>
              <a:bodyPr wrap="square" rtlCol="0" anchor="ctr">
                <a:spAutoFit/>
              </a:bodyPr>
              <a:lstStyle/>
              <a:p>
                <a:pPr algn="l" defTabSz="1219170" eaLnBrk="0" fontAlgn="base" hangingPunct="0">
                  <a:lnSpc>
                    <a:spcPct val="15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de-DE" sz="2000" dirty="0">
                  <a:solidFill>
                    <a:schemeClr val="bg2">
                      <a:lumMod val="25000"/>
                    </a:schemeClr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F60E6F4C-8FDD-8E24-DFC5-EFBE0ED2E4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3843881" y="1392598"/>
                <a:ext cx="1899591" cy="1899591"/>
              </a:xfrm>
              <a:prstGeom prst="rect">
                <a:avLst/>
              </a:prstGeom>
            </p:spPr>
          </p:pic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id="{80BF7DBC-0058-8624-C2C4-32A1D3E9C0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5325751" y="1299347"/>
                <a:ext cx="2160816" cy="2160816"/>
              </a:xfrm>
              <a:prstGeom prst="rect">
                <a:avLst/>
              </a:prstGeom>
            </p:spPr>
          </p:pic>
          <p:pic>
            <p:nvPicPr>
              <p:cNvPr id="73" name="Grafik 72">
                <a:extLst>
                  <a:ext uri="{FF2B5EF4-FFF2-40B4-BE49-F238E27FC236}">
                    <a16:creationId xmlns:a16="http://schemas.microsoft.com/office/drawing/2014/main" id="{E7A99F13-339B-B179-2FE0-E8CE8E26E8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5397696" y="-1808489"/>
                <a:ext cx="1899591" cy="1899592"/>
              </a:xfrm>
              <a:prstGeom prst="rect">
                <a:avLst/>
              </a:prstGeom>
            </p:spPr>
          </p:pic>
        </p:grpSp>
      </p:grpSp>
      <p:pic>
        <p:nvPicPr>
          <p:cNvPr id="25" name="Grafik 24">
            <a:extLst>
              <a:ext uri="{FF2B5EF4-FFF2-40B4-BE49-F238E27FC236}">
                <a16:creationId xmlns:a16="http://schemas.microsoft.com/office/drawing/2014/main" id="{E0ADBE21-F425-E724-4757-A244EC1A86F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41791" y="2966717"/>
            <a:ext cx="602062" cy="713555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4A5F2557-DD92-2485-979F-5BDA3ADC25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850385" y="2966717"/>
            <a:ext cx="602062" cy="71355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28AD912C-A539-7BC9-B5B2-AFD0B45CF0C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992129" y="2966717"/>
            <a:ext cx="602062" cy="713555"/>
          </a:xfrm>
          <a:prstGeom prst="rect">
            <a:avLst/>
          </a:prstGeom>
        </p:spPr>
      </p:pic>
      <p:sp>
        <p:nvSpPr>
          <p:cNvPr id="28" name="Textfeld 27">
            <a:extLst>
              <a:ext uri="{FF2B5EF4-FFF2-40B4-BE49-F238E27FC236}">
                <a16:creationId xmlns:a16="http://schemas.microsoft.com/office/drawing/2014/main" id="{DD23D743-6664-FD41-296D-DA276A4A01E6}"/>
              </a:ext>
            </a:extLst>
          </p:cNvPr>
          <p:cNvSpPr txBox="1"/>
          <p:nvPr/>
        </p:nvSpPr>
        <p:spPr>
          <a:xfrm>
            <a:off x="8035522" y="1216850"/>
            <a:ext cx="3159585" cy="496413"/>
          </a:xfrm>
          <a:prstGeom prst="roundRect">
            <a:avLst>
              <a:gd name="adj" fmla="val 33627"/>
            </a:avLst>
          </a:prstGeom>
          <a:solidFill>
            <a:schemeClr val="accent5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ea typeface="ＭＳ Ｐゴシック" charset="0"/>
              </a:rPr>
              <a:t>NEW: </a:t>
            </a:r>
            <a:r>
              <a:rPr lang="de-DE" dirty="0" err="1">
                <a:solidFill>
                  <a:schemeClr val="bg1"/>
                </a:solidFill>
                <a:ea typeface="ＭＳ Ｐゴシック" charset="0"/>
              </a:rPr>
              <a:t>starting</a:t>
            </a:r>
            <a:r>
              <a:rPr lang="de-DE" dirty="0">
                <a:solidFill>
                  <a:schemeClr val="bg1"/>
                </a:solidFill>
                <a:ea typeface="ＭＳ Ｐゴシック" charset="0"/>
              </a:rPr>
              <a:t> in 2024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B651C6F-3C64-7558-E94A-6B98154E76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  <p:grpSp>
        <p:nvGrpSpPr>
          <p:cNvPr id="35" name="Grafik 33">
            <a:extLst>
              <a:ext uri="{FF2B5EF4-FFF2-40B4-BE49-F238E27FC236}">
                <a16:creationId xmlns:a16="http://schemas.microsoft.com/office/drawing/2014/main" id="{926F704B-04C8-9416-4F25-1D772371975F}"/>
              </a:ext>
            </a:extLst>
          </p:cNvPr>
          <p:cNvGrpSpPr/>
          <p:nvPr/>
        </p:nvGrpSpPr>
        <p:grpSpPr>
          <a:xfrm>
            <a:off x="5748023" y="2794921"/>
            <a:ext cx="864377" cy="864377"/>
            <a:chOff x="3657600" y="990600"/>
            <a:chExt cx="4876800" cy="4876800"/>
          </a:xfrm>
        </p:grpSpPr>
        <p:sp>
          <p:nvSpPr>
            <p:cNvPr id="36" name="Freihandform 35">
              <a:extLst>
                <a:ext uri="{FF2B5EF4-FFF2-40B4-BE49-F238E27FC236}">
                  <a16:creationId xmlns:a16="http://schemas.microsoft.com/office/drawing/2014/main" id="{67DCF293-3474-F126-FDB3-75BAD02BF823}"/>
                </a:ext>
              </a:extLst>
            </p:cNvPr>
            <p:cNvSpPr/>
            <p:nvPr/>
          </p:nvSpPr>
          <p:spPr>
            <a:xfrm>
              <a:off x="3657600" y="990600"/>
              <a:ext cx="4876800" cy="4876800"/>
            </a:xfrm>
            <a:custGeom>
              <a:avLst/>
              <a:gdLst>
                <a:gd name="connsiteX0" fmla="*/ 4876800 w 4876800"/>
                <a:gd name="connsiteY0" fmla="*/ 2438400 h 4876800"/>
                <a:gd name="connsiteX1" fmla="*/ 2438400 w 4876800"/>
                <a:gd name="connsiteY1" fmla="*/ 4876800 h 4876800"/>
                <a:gd name="connsiteX2" fmla="*/ 0 w 4876800"/>
                <a:gd name="connsiteY2" fmla="*/ 2438400 h 4876800"/>
                <a:gd name="connsiteX3" fmla="*/ 2438400 w 4876800"/>
                <a:gd name="connsiteY3" fmla="*/ 0 h 4876800"/>
                <a:gd name="connsiteX4" fmla="*/ 4876800 w 4876800"/>
                <a:gd name="connsiteY4" fmla="*/ 243840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76800" h="4876800">
                  <a:moveTo>
                    <a:pt x="4876800" y="2438400"/>
                  </a:moveTo>
                  <a:cubicBezTo>
                    <a:pt x="4876800" y="3785091"/>
                    <a:pt x="3785091" y="4876800"/>
                    <a:pt x="2438400" y="4876800"/>
                  </a:cubicBezTo>
                  <a:cubicBezTo>
                    <a:pt x="1091709" y="4876800"/>
                    <a:pt x="0" y="3785091"/>
                    <a:pt x="0" y="2438400"/>
                  </a:cubicBezTo>
                  <a:cubicBezTo>
                    <a:pt x="0" y="1091709"/>
                    <a:pt x="1091709" y="0"/>
                    <a:pt x="2438400" y="0"/>
                  </a:cubicBezTo>
                  <a:cubicBezTo>
                    <a:pt x="3785091" y="0"/>
                    <a:pt x="4876800" y="1091709"/>
                    <a:pt x="4876800" y="2438400"/>
                  </a:cubicBezTo>
                  <a:close/>
                </a:path>
              </a:pathLst>
            </a:custGeom>
            <a:solidFill>
              <a:srgbClr val="FFDFC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 36">
              <a:extLst>
                <a:ext uri="{FF2B5EF4-FFF2-40B4-BE49-F238E27FC236}">
                  <a16:creationId xmlns:a16="http://schemas.microsoft.com/office/drawing/2014/main" id="{B5DB1CD7-AE6F-B35D-01FF-D81DEDBFFC98}"/>
                </a:ext>
              </a:extLst>
            </p:cNvPr>
            <p:cNvSpPr/>
            <p:nvPr/>
          </p:nvSpPr>
          <p:spPr>
            <a:xfrm>
              <a:off x="5801620" y="990600"/>
              <a:ext cx="2732779" cy="4876800"/>
            </a:xfrm>
            <a:custGeom>
              <a:avLst/>
              <a:gdLst>
                <a:gd name="connsiteX0" fmla="*/ 2732780 w 2732779"/>
                <a:gd name="connsiteY0" fmla="*/ 2438400 h 4876800"/>
                <a:gd name="connsiteX1" fmla="*/ 294380 w 2732779"/>
                <a:gd name="connsiteY1" fmla="*/ 4876800 h 4876800"/>
                <a:gd name="connsiteX2" fmla="*/ 10 w 2732779"/>
                <a:gd name="connsiteY2" fmla="*/ 4859141 h 4876800"/>
                <a:gd name="connsiteX3" fmla="*/ 2144030 w 2732779"/>
                <a:gd name="connsiteY3" fmla="*/ 2438400 h 4876800"/>
                <a:gd name="connsiteX4" fmla="*/ 0 w 2732779"/>
                <a:gd name="connsiteY4" fmla="*/ 17659 h 4876800"/>
                <a:gd name="connsiteX5" fmla="*/ 294380 w 2732779"/>
                <a:gd name="connsiteY5" fmla="*/ 0 h 4876800"/>
                <a:gd name="connsiteX6" fmla="*/ 2732780 w 2732779"/>
                <a:gd name="connsiteY6" fmla="*/ 2438400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32779" h="4876800">
                  <a:moveTo>
                    <a:pt x="2732780" y="2438400"/>
                  </a:moveTo>
                  <a:cubicBezTo>
                    <a:pt x="2732780" y="3785064"/>
                    <a:pt x="1641043" y="4876800"/>
                    <a:pt x="294380" y="4876800"/>
                  </a:cubicBezTo>
                  <a:cubicBezTo>
                    <a:pt x="194786" y="4876800"/>
                    <a:pt x="96460" y="4870819"/>
                    <a:pt x="10" y="4859141"/>
                  </a:cubicBezTo>
                  <a:cubicBezTo>
                    <a:pt x="1207923" y="4713818"/>
                    <a:pt x="2144030" y="3685470"/>
                    <a:pt x="2144030" y="2438400"/>
                  </a:cubicBezTo>
                  <a:cubicBezTo>
                    <a:pt x="2144030" y="1191330"/>
                    <a:pt x="1207923" y="162982"/>
                    <a:pt x="0" y="17659"/>
                  </a:cubicBezTo>
                  <a:cubicBezTo>
                    <a:pt x="96460" y="5982"/>
                    <a:pt x="194786" y="0"/>
                    <a:pt x="294380" y="0"/>
                  </a:cubicBezTo>
                  <a:cubicBezTo>
                    <a:pt x="1641043" y="0"/>
                    <a:pt x="2732780" y="1091736"/>
                    <a:pt x="2732780" y="2438400"/>
                  </a:cubicBezTo>
                  <a:close/>
                </a:path>
              </a:pathLst>
            </a:custGeom>
            <a:solidFill>
              <a:srgbClr val="FFCEB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 37">
              <a:extLst>
                <a:ext uri="{FF2B5EF4-FFF2-40B4-BE49-F238E27FC236}">
                  <a16:creationId xmlns:a16="http://schemas.microsoft.com/office/drawing/2014/main" id="{B7616005-0322-A753-8C29-11833BB2B5FB}"/>
                </a:ext>
              </a:extLst>
            </p:cNvPr>
            <p:cNvSpPr/>
            <p:nvPr/>
          </p:nvSpPr>
          <p:spPr>
            <a:xfrm>
              <a:off x="3922537" y="1266066"/>
              <a:ext cx="2040988" cy="3242853"/>
            </a:xfrm>
            <a:custGeom>
              <a:avLst/>
              <a:gdLst>
                <a:gd name="connsiteX0" fmla="*/ 841839 w 2040988"/>
                <a:gd name="connsiteY0" fmla="*/ 2907055 h 3242853"/>
                <a:gd name="connsiteX1" fmla="*/ 378219 w 2040988"/>
                <a:gd name="connsiteY1" fmla="*/ 3228657 h 3242853"/>
                <a:gd name="connsiteX2" fmla="*/ 262985 w 2040988"/>
                <a:gd name="connsiteY2" fmla="*/ 3201349 h 3242853"/>
                <a:gd name="connsiteX3" fmla="*/ 0 w 2040988"/>
                <a:gd name="connsiteY3" fmla="*/ 2162934 h 3242853"/>
                <a:gd name="connsiteX4" fmla="*/ 636632 w 2040988"/>
                <a:gd name="connsiteY4" fmla="*/ 626103 h 3242853"/>
                <a:gd name="connsiteX5" fmla="*/ 1953149 w 2040988"/>
                <a:gd name="connsiteY5" fmla="*/ 406 h 3242853"/>
                <a:gd name="connsiteX6" fmla="*/ 2040988 w 2040988"/>
                <a:gd name="connsiteY6" fmla="*/ 79540 h 3242853"/>
                <a:gd name="connsiteX7" fmla="*/ 2040988 w 2040988"/>
                <a:gd name="connsiteY7" fmla="*/ 929846 h 3242853"/>
                <a:gd name="connsiteX8" fmla="*/ 1976209 w 2040988"/>
                <a:gd name="connsiteY8" fmla="*/ 1053604 h 3242853"/>
                <a:gd name="connsiteX9" fmla="*/ 1786747 w 2040988"/>
                <a:gd name="connsiteY9" fmla="*/ 1260868 h 3242853"/>
                <a:gd name="connsiteX10" fmla="*/ 1670961 w 2040988"/>
                <a:gd name="connsiteY10" fmla="*/ 1715973 h 3242853"/>
                <a:gd name="connsiteX11" fmla="*/ 1348721 w 2040988"/>
                <a:gd name="connsiteY11" fmla="*/ 2057644 h 3242853"/>
                <a:gd name="connsiteX12" fmla="*/ 1274445 w 2040988"/>
                <a:gd name="connsiteY12" fmla="*/ 2345842 h 3242853"/>
                <a:gd name="connsiteX13" fmla="*/ 1232840 w 2040988"/>
                <a:gd name="connsiteY13" fmla="*/ 2512844 h 3242853"/>
                <a:gd name="connsiteX14" fmla="*/ 938365 w 2040988"/>
                <a:gd name="connsiteY14" fmla="*/ 2806062 h 3242853"/>
                <a:gd name="connsiteX15" fmla="*/ 841839 w 2040988"/>
                <a:gd name="connsiteY15" fmla="*/ 2907055 h 3242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040988" h="3242853">
                  <a:moveTo>
                    <a:pt x="841839" y="2907055"/>
                  </a:moveTo>
                  <a:lnTo>
                    <a:pt x="378219" y="3228657"/>
                  </a:lnTo>
                  <a:cubicBezTo>
                    <a:pt x="339338" y="3255622"/>
                    <a:pt x="285645" y="3242888"/>
                    <a:pt x="262985" y="3201349"/>
                  </a:cubicBezTo>
                  <a:cubicBezTo>
                    <a:pt x="91250" y="2886500"/>
                    <a:pt x="0" y="2531713"/>
                    <a:pt x="0" y="2162934"/>
                  </a:cubicBezTo>
                  <a:cubicBezTo>
                    <a:pt x="0" y="1582328"/>
                    <a:pt x="226076" y="1036555"/>
                    <a:pt x="636632" y="626103"/>
                  </a:cubicBezTo>
                  <a:cubicBezTo>
                    <a:pt x="994696" y="267954"/>
                    <a:pt x="1455811" y="50146"/>
                    <a:pt x="1953149" y="406"/>
                  </a:cubicBezTo>
                  <a:cubicBezTo>
                    <a:pt x="2000117" y="-4290"/>
                    <a:pt x="2040988" y="32334"/>
                    <a:pt x="2040988" y="79540"/>
                  </a:cubicBezTo>
                  <a:lnTo>
                    <a:pt x="2040988" y="929846"/>
                  </a:lnTo>
                  <a:cubicBezTo>
                    <a:pt x="2040988" y="979224"/>
                    <a:pt x="2016776" y="1025458"/>
                    <a:pt x="1976209" y="1053604"/>
                  </a:cubicBezTo>
                  <a:cubicBezTo>
                    <a:pt x="1911820" y="1098286"/>
                    <a:pt x="1855232" y="1139149"/>
                    <a:pt x="1786747" y="1260868"/>
                  </a:cubicBezTo>
                  <a:cubicBezTo>
                    <a:pt x="1665170" y="1471742"/>
                    <a:pt x="1760058" y="1536598"/>
                    <a:pt x="1670961" y="1715973"/>
                  </a:cubicBezTo>
                  <a:cubicBezTo>
                    <a:pt x="1567339" y="1887299"/>
                    <a:pt x="1461468" y="1842065"/>
                    <a:pt x="1348721" y="2057644"/>
                  </a:cubicBezTo>
                  <a:cubicBezTo>
                    <a:pt x="1278465" y="2185603"/>
                    <a:pt x="1276207" y="2274405"/>
                    <a:pt x="1274445" y="2345842"/>
                  </a:cubicBezTo>
                  <a:cubicBezTo>
                    <a:pt x="1273073" y="2403440"/>
                    <a:pt x="1272092" y="2441511"/>
                    <a:pt x="1232840" y="2512844"/>
                  </a:cubicBezTo>
                  <a:cubicBezTo>
                    <a:pt x="1139619" y="2667406"/>
                    <a:pt x="1037244" y="2649604"/>
                    <a:pt x="938365" y="2806062"/>
                  </a:cubicBezTo>
                  <a:cubicBezTo>
                    <a:pt x="913238" y="2845819"/>
                    <a:pt x="880481" y="2880261"/>
                    <a:pt x="841839" y="2907055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 38">
              <a:extLst>
                <a:ext uri="{FF2B5EF4-FFF2-40B4-BE49-F238E27FC236}">
                  <a16:creationId xmlns:a16="http://schemas.microsoft.com/office/drawing/2014/main" id="{BA63D30D-4E44-4510-3ACF-68716A4B1ED1}"/>
                </a:ext>
              </a:extLst>
            </p:cNvPr>
            <p:cNvSpPr/>
            <p:nvPr/>
          </p:nvSpPr>
          <p:spPr>
            <a:xfrm>
              <a:off x="5295128" y="2710338"/>
              <a:ext cx="1193607" cy="1427945"/>
            </a:xfrm>
            <a:custGeom>
              <a:avLst/>
              <a:gdLst>
                <a:gd name="connsiteX0" fmla="*/ 738788 w 1193607"/>
                <a:gd name="connsiteY0" fmla="*/ 17783 h 1427945"/>
                <a:gd name="connsiteX1" fmla="*/ 1150449 w 1193607"/>
                <a:gd name="connsiteY1" fmla="*/ 641585 h 1427945"/>
                <a:gd name="connsiteX2" fmla="*/ 1165365 w 1193607"/>
                <a:gd name="connsiteY2" fmla="*/ 1159297 h 1427945"/>
                <a:gd name="connsiteX3" fmla="*/ 875357 w 1193607"/>
                <a:gd name="connsiteY3" fmla="*/ 1392203 h 1427945"/>
                <a:gd name="connsiteX4" fmla="*/ 581768 w 1193607"/>
                <a:gd name="connsiteY4" fmla="*/ 1311145 h 1427945"/>
                <a:gd name="connsiteX5" fmla="*/ 300057 w 1193607"/>
                <a:gd name="connsiteY5" fmla="*/ 1385821 h 1427945"/>
                <a:gd name="connsiteX6" fmla="*/ 47692 w 1193607"/>
                <a:gd name="connsiteY6" fmla="*/ 1412872 h 1427945"/>
                <a:gd name="connsiteX7" fmla="*/ 16231 w 1193607"/>
                <a:gd name="connsiteY7" fmla="*/ 1306773 h 1427945"/>
                <a:gd name="connsiteX8" fmla="*/ 92421 w 1193607"/>
                <a:gd name="connsiteY8" fmla="*/ 1196245 h 1427945"/>
                <a:gd name="connsiteX9" fmla="*/ 166697 w 1193607"/>
                <a:gd name="connsiteY9" fmla="*/ 908057 h 1427945"/>
                <a:gd name="connsiteX10" fmla="*/ 208302 w 1193607"/>
                <a:gd name="connsiteY10" fmla="*/ 741045 h 1427945"/>
                <a:gd name="connsiteX11" fmla="*/ 327032 w 1193607"/>
                <a:gd name="connsiteY11" fmla="*/ 616430 h 1427945"/>
                <a:gd name="connsiteX12" fmla="*/ 530543 w 1193607"/>
                <a:gd name="connsiteY12" fmla="*/ 399374 h 1427945"/>
                <a:gd name="connsiteX13" fmla="*/ 604828 w 1193607"/>
                <a:gd name="connsiteY13" fmla="*/ 111281 h 1427945"/>
                <a:gd name="connsiteX14" fmla="*/ 617973 w 1193607"/>
                <a:gd name="connsiteY14" fmla="*/ 7953 h 1427945"/>
                <a:gd name="connsiteX15" fmla="*/ 738788 w 1193607"/>
                <a:gd name="connsiteY15" fmla="*/ 17783 h 1427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193607" h="1427945">
                  <a:moveTo>
                    <a:pt x="738788" y="17783"/>
                  </a:moveTo>
                  <a:cubicBezTo>
                    <a:pt x="841010" y="139351"/>
                    <a:pt x="1080183" y="513731"/>
                    <a:pt x="1150449" y="641585"/>
                  </a:cubicBezTo>
                  <a:cubicBezTo>
                    <a:pt x="1220801" y="769439"/>
                    <a:pt x="1189530" y="1092070"/>
                    <a:pt x="1165365" y="1159297"/>
                  </a:cubicBezTo>
                  <a:cubicBezTo>
                    <a:pt x="1141953" y="1224429"/>
                    <a:pt x="875357" y="1392203"/>
                    <a:pt x="875357" y="1392203"/>
                  </a:cubicBezTo>
                  <a:cubicBezTo>
                    <a:pt x="813445" y="1358942"/>
                    <a:pt x="724634" y="1311145"/>
                    <a:pt x="581768" y="1311145"/>
                  </a:cubicBezTo>
                  <a:cubicBezTo>
                    <a:pt x="438998" y="1311145"/>
                    <a:pt x="361969" y="1352560"/>
                    <a:pt x="300057" y="1385821"/>
                  </a:cubicBezTo>
                  <a:cubicBezTo>
                    <a:pt x="233991" y="1433894"/>
                    <a:pt x="132865" y="1437742"/>
                    <a:pt x="47692" y="1412872"/>
                  </a:cubicBezTo>
                  <a:cubicBezTo>
                    <a:pt x="1524" y="1399394"/>
                    <a:pt x="-15478" y="1342930"/>
                    <a:pt x="16231" y="1306773"/>
                  </a:cubicBezTo>
                  <a:cubicBezTo>
                    <a:pt x="41520" y="1277931"/>
                    <a:pt x="67190" y="1242165"/>
                    <a:pt x="92421" y="1196245"/>
                  </a:cubicBezTo>
                  <a:cubicBezTo>
                    <a:pt x="162773" y="1068286"/>
                    <a:pt x="164935" y="979484"/>
                    <a:pt x="166697" y="908057"/>
                  </a:cubicBezTo>
                  <a:cubicBezTo>
                    <a:pt x="168174" y="850459"/>
                    <a:pt x="169155" y="812387"/>
                    <a:pt x="208302" y="741045"/>
                  </a:cubicBezTo>
                  <a:cubicBezTo>
                    <a:pt x="247555" y="669712"/>
                    <a:pt x="279149" y="648510"/>
                    <a:pt x="327032" y="616430"/>
                  </a:cubicBezTo>
                  <a:cubicBezTo>
                    <a:pt x="386401" y="576691"/>
                    <a:pt x="460191" y="527237"/>
                    <a:pt x="530543" y="399374"/>
                  </a:cubicBezTo>
                  <a:cubicBezTo>
                    <a:pt x="600799" y="271520"/>
                    <a:pt x="603057" y="182613"/>
                    <a:pt x="604828" y="111281"/>
                  </a:cubicBezTo>
                  <a:cubicBezTo>
                    <a:pt x="605733" y="73419"/>
                    <a:pt x="606514" y="43863"/>
                    <a:pt x="617973" y="7953"/>
                  </a:cubicBezTo>
                  <a:cubicBezTo>
                    <a:pt x="617963" y="7944"/>
                    <a:pt x="710946" y="-15326"/>
                    <a:pt x="738788" y="17783"/>
                  </a:cubicBezTo>
                  <a:close/>
                </a:path>
              </a:pathLst>
            </a:custGeom>
            <a:solidFill>
              <a:srgbClr val="26A6F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 39">
              <a:extLst>
                <a:ext uri="{FF2B5EF4-FFF2-40B4-BE49-F238E27FC236}">
                  <a16:creationId xmlns:a16="http://schemas.microsoft.com/office/drawing/2014/main" id="{98BFF50B-8331-2AAF-119C-11D4B8A3DA9C}"/>
                </a:ext>
              </a:extLst>
            </p:cNvPr>
            <p:cNvSpPr/>
            <p:nvPr/>
          </p:nvSpPr>
          <p:spPr>
            <a:xfrm>
              <a:off x="5913100" y="2564604"/>
              <a:ext cx="1032571" cy="1574617"/>
            </a:xfrm>
            <a:custGeom>
              <a:avLst/>
              <a:gdLst>
                <a:gd name="connsiteX0" fmla="*/ 1031072 w 1032571"/>
                <a:gd name="connsiteY0" fmla="*/ 1389509 h 1574617"/>
                <a:gd name="connsiteX1" fmla="*/ 953767 w 1032571"/>
                <a:gd name="connsiteY1" fmla="*/ 1467080 h 1574617"/>
                <a:gd name="connsiteX2" fmla="*/ 839943 w 1032571"/>
                <a:gd name="connsiteY2" fmla="*/ 1456869 h 1574617"/>
                <a:gd name="connsiteX3" fmla="*/ 558232 w 1032571"/>
                <a:gd name="connsiteY3" fmla="*/ 1531545 h 1574617"/>
                <a:gd name="connsiteX4" fmla="*/ 401822 w 1032571"/>
                <a:gd name="connsiteY4" fmla="*/ 1574617 h 1574617"/>
                <a:gd name="connsiteX5" fmla="*/ 257385 w 1032571"/>
                <a:gd name="connsiteY5" fmla="*/ 1537918 h 1574617"/>
                <a:gd name="connsiteX6" fmla="*/ 376704 w 1032571"/>
                <a:gd name="connsiteY6" fmla="*/ 1019520 h 1574617"/>
                <a:gd name="connsiteX7" fmla="*/ 0 w 1032571"/>
                <a:gd name="connsiteY7" fmla="*/ 153668 h 1574617"/>
                <a:gd name="connsiteX8" fmla="*/ 79619 w 1032571"/>
                <a:gd name="connsiteY8" fmla="*/ 20080 h 1574617"/>
                <a:gd name="connsiteX9" fmla="*/ 188538 w 1032571"/>
                <a:gd name="connsiteY9" fmla="*/ 44388 h 1574617"/>
                <a:gd name="connsiteX10" fmla="*/ 234229 w 1032571"/>
                <a:gd name="connsiteY10" fmla="*/ 146696 h 1574617"/>
                <a:gd name="connsiteX11" fmla="*/ 437740 w 1032571"/>
                <a:gd name="connsiteY11" fmla="*/ 363752 h 1574617"/>
                <a:gd name="connsiteX12" fmla="*/ 556470 w 1032571"/>
                <a:gd name="connsiteY12" fmla="*/ 488367 h 1574617"/>
                <a:gd name="connsiteX13" fmla="*/ 597980 w 1032571"/>
                <a:gd name="connsiteY13" fmla="*/ 655379 h 1574617"/>
                <a:gd name="connsiteX14" fmla="*/ 672265 w 1032571"/>
                <a:gd name="connsiteY14" fmla="*/ 943472 h 1574617"/>
                <a:gd name="connsiteX15" fmla="*/ 875776 w 1032571"/>
                <a:gd name="connsiteY15" fmla="*/ 1160623 h 1574617"/>
                <a:gd name="connsiteX16" fmla="*/ 1031072 w 1032571"/>
                <a:gd name="connsiteY16" fmla="*/ 1389509 h 157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32571" h="1574617">
                  <a:moveTo>
                    <a:pt x="1031072" y="1389509"/>
                  </a:moveTo>
                  <a:cubicBezTo>
                    <a:pt x="1041006" y="1435571"/>
                    <a:pt x="1000039" y="1476024"/>
                    <a:pt x="953767" y="1467080"/>
                  </a:cubicBezTo>
                  <a:cubicBezTo>
                    <a:pt x="921001" y="1460746"/>
                    <a:pt x="883548" y="1456869"/>
                    <a:pt x="839943" y="1456869"/>
                  </a:cubicBezTo>
                  <a:cubicBezTo>
                    <a:pt x="697068" y="1456869"/>
                    <a:pt x="620049" y="1498284"/>
                    <a:pt x="558232" y="1531545"/>
                  </a:cubicBezTo>
                  <a:cubicBezTo>
                    <a:pt x="509959" y="1557549"/>
                    <a:pt x="478060" y="1574617"/>
                    <a:pt x="401822" y="1574617"/>
                  </a:cubicBezTo>
                  <a:cubicBezTo>
                    <a:pt x="332051" y="1574617"/>
                    <a:pt x="299476" y="1560292"/>
                    <a:pt x="257385" y="1537918"/>
                  </a:cubicBezTo>
                  <a:cubicBezTo>
                    <a:pt x="333823" y="1381403"/>
                    <a:pt x="376704" y="1205467"/>
                    <a:pt x="376704" y="1019520"/>
                  </a:cubicBezTo>
                  <a:cubicBezTo>
                    <a:pt x="376704" y="677648"/>
                    <a:pt x="231772" y="369638"/>
                    <a:pt x="0" y="153668"/>
                  </a:cubicBezTo>
                  <a:cubicBezTo>
                    <a:pt x="15088" y="102891"/>
                    <a:pt x="44463" y="57123"/>
                    <a:pt x="79619" y="20080"/>
                  </a:cubicBezTo>
                  <a:cubicBezTo>
                    <a:pt x="113243" y="-15334"/>
                    <a:pt x="172822" y="-1846"/>
                    <a:pt x="188538" y="44388"/>
                  </a:cubicBezTo>
                  <a:cubicBezTo>
                    <a:pt x="199120" y="75535"/>
                    <a:pt x="213789" y="109453"/>
                    <a:pt x="234229" y="146696"/>
                  </a:cubicBezTo>
                  <a:cubicBezTo>
                    <a:pt x="304581" y="274560"/>
                    <a:pt x="378371" y="324004"/>
                    <a:pt x="437740" y="363752"/>
                  </a:cubicBezTo>
                  <a:cubicBezTo>
                    <a:pt x="485623" y="395841"/>
                    <a:pt x="517227" y="417035"/>
                    <a:pt x="556470" y="488367"/>
                  </a:cubicBezTo>
                  <a:cubicBezTo>
                    <a:pt x="595617" y="559700"/>
                    <a:pt x="596598" y="597781"/>
                    <a:pt x="597980" y="655379"/>
                  </a:cubicBezTo>
                  <a:cubicBezTo>
                    <a:pt x="599742" y="726711"/>
                    <a:pt x="601999" y="815618"/>
                    <a:pt x="672265" y="943472"/>
                  </a:cubicBezTo>
                  <a:cubicBezTo>
                    <a:pt x="742617" y="1071326"/>
                    <a:pt x="816407" y="1120885"/>
                    <a:pt x="875776" y="1160623"/>
                  </a:cubicBezTo>
                  <a:cubicBezTo>
                    <a:pt x="953881" y="1198913"/>
                    <a:pt x="1010831" y="1295649"/>
                    <a:pt x="1031072" y="1389509"/>
                  </a:cubicBezTo>
                  <a:close/>
                </a:path>
              </a:pathLst>
            </a:custGeom>
            <a:solidFill>
              <a:srgbClr val="0593F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 40">
              <a:extLst>
                <a:ext uri="{FF2B5EF4-FFF2-40B4-BE49-F238E27FC236}">
                  <a16:creationId xmlns:a16="http://schemas.microsoft.com/office/drawing/2014/main" id="{2B52DCA1-DC23-280D-99C7-58E297A7BE80}"/>
                </a:ext>
              </a:extLst>
            </p:cNvPr>
            <p:cNvSpPr/>
            <p:nvPr/>
          </p:nvSpPr>
          <p:spPr>
            <a:xfrm>
              <a:off x="4415757" y="4284368"/>
              <a:ext cx="3202442" cy="1318093"/>
            </a:xfrm>
            <a:custGeom>
              <a:avLst/>
              <a:gdLst>
                <a:gd name="connsiteX0" fmla="*/ 3137148 w 3202442"/>
                <a:gd name="connsiteY0" fmla="*/ 659040 h 1318093"/>
                <a:gd name="connsiteX1" fmla="*/ 2420592 w 3202442"/>
                <a:gd name="connsiteY1" fmla="*/ 1189354 h 1318093"/>
                <a:gd name="connsiteX2" fmla="*/ 1680243 w 3202442"/>
                <a:gd name="connsiteY2" fmla="*/ 1318093 h 1318093"/>
                <a:gd name="connsiteX3" fmla="*/ 143412 w 3202442"/>
                <a:gd name="connsiteY3" fmla="*/ 681461 h 1318093"/>
                <a:gd name="connsiteX4" fmla="*/ 18959 w 3202442"/>
                <a:gd name="connsiteY4" fmla="*/ 546302 h 1318093"/>
                <a:gd name="connsiteX5" fmla="*/ 34161 w 3202442"/>
                <a:gd name="connsiteY5" fmla="*/ 429316 h 1318093"/>
                <a:gd name="connsiteX6" fmla="*/ 592811 w 3202442"/>
                <a:gd name="connsiteY6" fmla="*/ 41696 h 1318093"/>
                <a:gd name="connsiteX7" fmla="*/ 709769 w 3202442"/>
                <a:gd name="connsiteY7" fmla="*/ 29627 h 1318093"/>
                <a:gd name="connsiteX8" fmla="*/ 1023094 w 3202442"/>
                <a:gd name="connsiteY8" fmla="*/ 119801 h 1318093"/>
                <a:gd name="connsiteX9" fmla="*/ 1617435 w 3202442"/>
                <a:gd name="connsiteY9" fmla="*/ 45125 h 1318093"/>
                <a:gd name="connsiteX10" fmla="*/ 2180962 w 3202442"/>
                <a:gd name="connsiteY10" fmla="*/ 45125 h 1318093"/>
                <a:gd name="connsiteX11" fmla="*/ 2337277 w 3202442"/>
                <a:gd name="connsiteY11" fmla="*/ 2043 h 1318093"/>
                <a:gd name="connsiteX12" fmla="*/ 2728431 w 3202442"/>
                <a:gd name="connsiteY12" fmla="*/ 119277 h 1318093"/>
                <a:gd name="connsiteX13" fmla="*/ 2829177 w 3202442"/>
                <a:gd name="connsiteY13" fmla="*/ 148833 h 1318093"/>
                <a:gd name="connsiteX14" fmla="*/ 3202442 w 3202442"/>
                <a:gd name="connsiteY14" fmla="*/ 365993 h 1318093"/>
                <a:gd name="connsiteX15" fmla="*/ 3137148 w 3202442"/>
                <a:gd name="connsiteY15" fmla="*/ 659040 h 1318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02442" h="1318093">
                  <a:moveTo>
                    <a:pt x="3137148" y="659040"/>
                  </a:moveTo>
                  <a:cubicBezTo>
                    <a:pt x="2908025" y="888259"/>
                    <a:pt x="2725526" y="1028924"/>
                    <a:pt x="2420592" y="1189354"/>
                  </a:cubicBezTo>
                  <a:cubicBezTo>
                    <a:pt x="2186372" y="1273936"/>
                    <a:pt x="1936636" y="1318093"/>
                    <a:pt x="1680243" y="1318093"/>
                  </a:cubicBezTo>
                  <a:cubicBezTo>
                    <a:pt x="1099637" y="1318093"/>
                    <a:pt x="553864" y="1092018"/>
                    <a:pt x="143412" y="681461"/>
                  </a:cubicBezTo>
                  <a:cubicBezTo>
                    <a:pt x="99816" y="637865"/>
                    <a:pt x="58316" y="592793"/>
                    <a:pt x="18959" y="546302"/>
                  </a:cubicBezTo>
                  <a:cubicBezTo>
                    <a:pt x="-11445" y="510392"/>
                    <a:pt x="-4492" y="456138"/>
                    <a:pt x="34161" y="429316"/>
                  </a:cubicBezTo>
                  <a:lnTo>
                    <a:pt x="592811" y="41696"/>
                  </a:lnTo>
                  <a:cubicBezTo>
                    <a:pt x="627130" y="17883"/>
                    <a:pt x="671374" y="13168"/>
                    <a:pt x="709769" y="29627"/>
                  </a:cubicBezTo>
                  <a:cubicBezTo>
                    <a:pt x="801618" y="69004"/>
                    <a:pt x="855997" y="121172"/>
                    <a:pt x="1023094" y="119801"/>
                  </a:cubicBezTo>
                  <a:cubicBezTo>
                    <a:pt x="1285088" y="128040"/>
                    <a:pt x="1390959" y="-92045"/>
                    <a:pt x="1617435" y="45125"/>
                  </a:cubicBezTo>
                  <a:cubicBezTo>
                    <a:pt x="1750394" y="141870"/>
                    <a:pt x="2048403" y="141680"/>
                    <a:pt x="2180962" y="45125"/>
                  </a:cubicBezTo>
                  <a:cubicBezTo>
                    <a:pt x="2229235" y="19217"/>
                    <a:pt x="2261134" y="2043"/>
                    <a:pt x="2337277" y="2043"/>
                  </a:cubicBezTo>
                  <a:cubicBezTo>
                    <a:pt x="2513271" y="10473"/>
                    <a:pt x="2540436" y="110038"/>
                    <a:pt x="2728431" y="119277"/>
                  </a:cubicBezTo>
                  <a:cubicBezTo>
                    <a:pt x="2763883" y="121020"/>
                    <a:pt x="2798497" y="130983"/>
                    <a:pt x="2829177" y="148833"/>
                  </a:cubicBezTo>
                  <a:lnTo>
                    <a:pt x="3202442" y="365993"/>
                  </a:lnTo>
                  <a:cubicBezTo>
                    <a:pt x="3202452" y="365993"/>
                    <a:pt x="3178830" y="617368"/>
                    <a:pt x="3137148" y="659040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 41">
              <a:extLst>
                <a:ext uri="{FF2B5EF4-FFF2-40B4-BE49-F238E27FC236}">
                  <a16:creationId xmlns:a16="http://schemas.microsoft.com/office/drawing/2014/main" id="{B9B2ED78-D541-99CB-654C-7FAA195D4511}"/>
                </a:ext>
              </a:extLst>
            </p:cNvPr>
            <p:cNvSpPr/>
            <p:nvPr/>
          </p:nvSpPr>
          <p:spPr>
            <a:xfrm>
              <a:off x="6836349" y="4650371"/>
              <a:ext cx="934781" cy="823360"/>
            </a:xfrm>
            <a:custGeom>
              <a:avLst/>
              <a:gdLst>
                <a:gd name="connsiteX0" fmla="*/ 895217 w 934781"/>
                <a:gd name="connsiteY0" fmla="*/ 65961 h 823360"/>
                <a:gd name="connsiteX1" fmla="*/ 915762 w 934781"/>
                <a:gd name="connsiteY1" fmla="*/ 186357 h 823360"/>
                <a:gd name="connsiteX2" fmla="*/ 796480 w 934781"/>
                <a:gd name="connsiteY2" fmla="*/ 315468 h 823360"/>
                <a:gd name="connsiteX3" fmla="*/ 0 w 934781"/>
                <a:gd name="connsiteY3" fmla="*/ 823360 h 823360"/>
                <a:gd name="connsiteX4" fmla="*/ 781860 w 934781"/>
                <a:gd name="connsiteY4" fmla="*/ 0 h 8233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4781" h="823360">
                  <a:moveTo>
                    <a:pt x="895217" y="65961"/>
                  </a:moveTo>
                  <a:cubicBezTo>
                    <a:pt x="938089" y="90907"/>
                    <a:pt x="947947" y="148619"/>
                    <a:pt x="915762" y="186357"/>
                  </a:cubicBezTo>
                  <a:cubicBezTo>
                    <a:pt x="877948" y="230705"/>
                    <a:pt x="838162" y="273787"/>
                    <a:pt x="796480" y="315468"/>
                  </a:cubicBezTo>
                  <a:cubicBezTo>
                    <a:pt x="567357" y="544687"/>
                    <a:pt x="296047" y="716309"/>
                    <a:pt x="0" y="823360"/>
                  </a:cubicBezTo>
                  <a:cubicBezTo>
                    <a:pt x="320773" y="614353"/>
                    <a:pt x="589341" y="331956"/>
                    <a:pt x="781860" y="0"/>
                  </a:cubicBezTo>
                  <a:close/>
                </a:path>
              </a:pathLst>
            </a:custGeom>
            <a:solidFill>
              <a:srgbClr val="FD47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 42">
              <a:extLst>
                <a:ext uri="{FF2B5EF4-FFF2-40B4-BE49-F238E27FC236}">
                  <a16:creationId xmlns:a16="http://schemas.microsoft.com/office/drawing/2014/main" id="{95F43144-E74B-AB05-108A-5C245C9F04E9}"/>
                </a:ext>
              </a:extLst>
            </p:cNvPr>
            <p:cNvSpPr/>
            <p:nvPr/>
          </p:nvSpPr>
          <p:spPr>
            <a:xfrm>
              <a:off x="6228473" y="1266120"/>
              <a:ext cx="1883064" cy="3147764"/>
            </a:xfrm>
            <a:custGeom>
              <a:avLst/>
              <a:gdLst>
                <a:gd name="connsiteX0" fmla="*/ 1883064 w 1883064"/>
                <a:gd name="connsiteY0" fmla="*/ 2376487 h 3147764"/>
                <a:gd name="connsiteX1" fmla="*/ 1510132 w 1883064"/>
                <a:gd name="connsiteY1" fmla="*/ 3147765 h 3147764"/>
                <a:gd name="connsiteX2" fmla="*/ 1077897 w 1883064"/>
                <a:gd name="connsiteY2" fmla="*/ 2896371 h 3147764"/>
                <a:gd name="connsiteX3" fmla="*/ 984876 w 1883064"/>
                <a:gd name="connsiteY3" fmla="*/ 2745457 h 3147764"/>
                <a:gd name="connsiteX4" fmla="*/ 911285 w 1883064"/>
                <a:gd name="connsiteY4" fmla="*/ 2456088 h 3147764"/>
                <a:gd name="connsiteX5" fmla="*/ 589045 w 1883064"/>
                <a:gd name="connsiteY5" fmla="*/ 2114321 h 3147764"/>
                <a:gd name="connsiteX6" fmla="*/ 473259 w 1883064"/>
                <a:gd name="connsiteY6" fmla="*/ 1659217 h 3147764"/>
                <a:gd name="connsiteX7" fmla="*/ 269748 w 1883064"/>
                <a:gd name="connsiteY7" fmla="*/ 1442171 h 3147764"/>
                <a:gd name="connsiteX8" fmla="*/ 32680 w 1883064"/>
                <a:gd name="connsiteY8" fmla="*/ 863041 h 3147764"/>
                <a:gd name="connsiteX9" fmla="*/ 0 w 1883064"/>
                <a:gd name="connsiteY9" fmla="*/ 757266 h 3147764"/>
                <a:gd name="connsiteX10" fmla="*/ 0 w 1883064"/>
                <a:gd name="connsiteY10" fmla="*/ 79495 h 3147764"/>
                <a:gd name="connsiteX11" fmla="*/ 87821 w 1883064"/>
                <a:gd name="connsiteY11" fmla="*/ 409 h 3147764"/>
                <a:gd name="connsiteX12" fmla="*/ 607886 w 1883064"/>
                <a:gd name="connsiteY12" fmla="*/ 118253 h 3147764"/>
                <a:gd name="connsiteX13" fmla="*/ 1352617 w 1883064"/>
                <a:gd name="connsiteY13" fmla="*/ 652500 h 3147764"/>
                <a:gd name="connsiteX14" fmla="*/ 1883064 w 1883064"/>
                <a:gd name="connsiteY14" fmla="*/ 2376487 h 3147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83064" h="3147764">
                  <a:moveTo>
                    <a:pt x="1883064" y="2376487"/>
                  </a:moveTo>
                  <a:cubicBezTo>
                    <a:pt x="1883064" y="2741219"/>
                    <a:pt x="1510132" y="3147765"/>
                    <a:pt x="1510132" y="3147765"/>
                  </a:cubicBezTo>
                  <a:lnTo>
                    <a:pt x="1077897" y="2896371"/>
                  </a:lnTo>
                  <a:cubicBezTo>
                    <a:pt x="1023633" y="2864777"/>
                    <a:pt x="988705" y="2808160"/>
                    <a:pt x="984876" y="2745457"/>
                  </a:cubicBezTo>
                  <a:cubicBezTo>
                    <a:pt x="979675" y="2660475"/>
                    <a:pt x="984676" y="2587476"/>
                    <a:pt x="911285" y="2456088"/>
                  </a:cubicBezTo>
                  <a:cubicBezTo>
                    <a:pt x="798443" y="2240413"/>
                    <a:pt x="692763" y="2285848"/>
                    <a:pt x="589045" y="2114321"/>
                  </a:cubicBezTo>
                  <a:cubicBezTo>
                    <a:pt x="499948" y="1935051"/>
                    <a:pt x="594836" y="1869986"/>
                    <a:pt x="473259" y="1659217"/>
                  </a:cubicBezTo>
                  <a:cubicBezTo>
                    <a:pt x="402908" y="1531363"/>
                    <a:pt x="329117" y="1481909"/>
                    <a:pt x="269748" y="1442171"/>
                  </a:cubicBezTo>
                  <a:cubicBezTo>
                    <a:pt x="35424" y="1313135"/>
                    <a:pt x="170640" y="1067533"/>
                    <a:pt x="32680" y="863041"/>
                  </a:cubicBezTo>
                  <a:cubicBezTo>
                    <a:pt x="11582" y="831742"/>
                    <a:pt x="0" y="795042"/>
                    <a:pt x="0" y="757266"/>
                  </a:cubicBezTo>
                  <a:lnTo>
                    <a:pt x="0" y="79495"/>
                  </a:lnTo>
                  <a:cubicBezTo>
                    <a:pt x="0" y="32299"/>
                    <a:pt x="40815" y="-4305"/>
                    <a:pt x="87821" y="409"/>
                  </a:cubicBezTo>
                  <a:cubicBezTo>
                    <a:pt x="266900" y="18269"/>
                    <a:pt x="441265" y="58007"/>
                    <a:pt x="607886" y="118253"/>
                  </a:cubicBezTo>
                  <a:cubicBezTo>
                    <a:pt x="941537" y="293122"/>
                    <a:pt x="1123493" y="423281"/>
                    <a:pt x="1352617" y="652500"/>
                  </a:cubicBezTo>
                  <a:cubicBezTo>
                    <a:pt x="1763154" y="1062952"/>
                    <a:pt x="1883064" y="1795881"/>
                    <a:pt x="1883064" y="2376487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 43">
              <a:extLst>
                <a:ext uri="{FF2B5EF4-FFF2-40B4-BE49-F238E27FC236}">
                  <a16:creationId xmlns:a16="http://schemas.microsoft.com/office/drawing/2014/main" id="{28E1E829-D694-589D-5971-4D0FA6DC7EB1}"/>
                </a:ext>
              </a:extLst>
            </p:cNvPr>
            <p:cNvSpPr/>
            <p:nvPr/>
          </p:nvSpPr>
          <p:spPr>
            <a:xfrm>
              <a:off x="6836349" y="1384373"/>
              <a:ext cx="1433112" cy="3123510"/>
            </a:xfrm>
            <a:custGeom>
              <a:avLst/>
              <a:gdLst>
                <a:gd name="connsiteX0" fmla="*/ 1433113 w 1433112"/>
                <a:gd name="connsiteY0" fmla="*/ 2044627 h 3123510"/>
                <a:gd name="connsiteX1" fmla="*/ 1175833 w 1433112"/>
                <a:gd name="connsiteY1" fmla="*/ 3072384 h 3123510"/>
                <a:gd name="connsiteX2" fmla="*/ 1040711 w 1433112"/>
                <a:gd name="connsiteY2" fmla="*/ 3110160 h 3123510"/>
                <a:gd name="connsiteX3" fmla="*/ 902256 w 1433112"/>
                <a:gd name="connsiteY3" fmla="*/ 3029502 h 3123510"/>
                <a:gd name="connsiteX4" fmla="*/ 1109301 w 1433112"/>
                <a:gd name="connsiteY4" fmla="*/ 2044627 h 3123510"/>
                <a:gd name="connsiteX5" fmla="*/ 0 w 1433112"/>
                <a:gd name="connsiteY5" fmla="*/ 0 h 3123510"/>
                <a:gd name="connsiteX6" fmla="*/ 796480 w 1433112"/>
                <a:gd name="connsiteY6" fmla="*/ 507797 h 3123510"/>
                <a:gd name="connsiteX7" fmla="*/ 1433113 w 1433112"/>
                <a:gd name="connsiteY7" fmla="*/ 2044627 h 3123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33112" h="3123510">
                  <a:moveTo>
                    <a:pt x="1433113" y="2044627"/>
                  </a:moveTo>
                  <a:cubicBezTo>
                    <a:pt x="1433113" y="2409358"/>
                    <a:pt x="1343921" y="2760155"/>
                    <a:pt x="1175833" y="3072384"/>
                  </a:cubicBezTo>
                  <a:cubicBezTo>
                    <a:pt x="1149734" y="3120952"/>
                    <a:pt x="1088307" y="3137935"/>
                    <a:pt x="1040711" y="3110160"/>
                  </a:cubicBezTo>
                  <a:lnTo>
                    <a:pt x="902256" y="3029502"/>
                  </a:lnTo>
                  <a:cubicBezTo>
                    <a:pt x="1035415" y="2728255"/>
                    <a:pt x="1109301" y="2395023"/>
                    <a:pt x="1109301" y="2044627"/>
                  </a:cubicBezTo>
                  <a:cubicBezTo>
                    <a:pt x="1109301" y="1188196"/>
                    <a:pt x="667836" y="434892"/>
                    <a:pt x="0" y="0"/>
                  </a:cubicBezTo>
                  <a:cubicBezTo>
                    <a:pt x="296047" y="106861"/>
                    <a:pt x="567357" y="278578"/>
                    <a:pt x="796480" y="507797"/>
                  </a:cubicBezTo>
                  <a:cubicBezTo>
                    <a:pt x="1207037" y="918248"/>
                    <a:pt x="1433113" y="1464021"/>
                    <a:pt x="1433113" y="2044627"/>
                  </a:cubicBezTo>
                  <a:close/>
                </a:path>
              </a:pathLst>
            </a:custGeom>
            <a:solidFill>
              <a:srgbClr val="FD47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7" name="Grafik 45">
            <a:extLst>
              <a:ext uri="{FF2B5EF4-FFF2-40B4-BE49-F238E27FC236}">
                <a16:creationId xmlns:a16="http://schemas.microsoft.com/office/drawing/2014/main" id="{C758C64E-4ED2-9846-2C87-6A9CB958D5FB}"/>
              </a:ext>
            </a:extLst>
          </p:cNvPr>
          <p:cNvGrpSpPr/>
          <p:nvPr/>
        </p:nvGrpSpPr>
        <p:grpSpPr>
          <a:xfrm>
            <a:off x="5641493" y="5127075"/>
            <a:ext cx="984534" cy="984886"/>
            <a:chOff x="3658476" y="990601"/>
            <a:chExt cx="4875053" cy="4876798"/>
          </a:xfrm>
        </p:grpSpPr>
        <p:grpSp>
          <p:nvGrpSpPr>
            <p:cNvPr id="48" name="Grafik 45">
              <a:extLst>
                <a:ext uri="{FF2B5EF4-FFF2-40B4-BE49-F238E27FC236}">
                  <a16:creationId xmlns:a16="http://schemas.microsoft.com/office/drawing/2014/main" id="{954D301B-021B-1F71-B190-FAAE6478F22C}"/>
                </a:ext>
              </a:extLst>
            </p:cNvPr>
            <p:cNvGrpSpPr/>
            <p:nvPr/>
          </p:nvGrpSpPr>
          <p:grpSpPr>
            <a:xfrm>
              <a:off x="3658476" y="990601"/>
              <a:ext cx="4875018" cy="4876798"/>
              <a:chOff x="3658476" y="990601"/>
              <a:chExt cx="4875018" cy="4876798"/>
            </a:xfrm>
          </p:grpSpPr>
          <p:sp>
            <p:nvSpPr>
              <p:cNvPr id="49" name="Freihandform 48">
                <a:extLst>
                  <a:ext uri="{FF2B5EF4-FFF2-40B4-BE49-F238E27FC236}">
                    <a16:creationId xmlns:a16="http://schemas.microsoft.com/office/drawing/2014/main" id="{25C361EB-B0A8-3A61-4709-624301358176}"/>
                  </a:ext>
                </a:extLst>
              </p:cNvPr>
              <p:cNvSpPr/>
              <p:nvPr/>
            </p:nvSpPr>
            <p:spPr>
              <a:xfrm>
                <a:off x="3658476" y="3577971"/>
                <a:ext cx="4875018" cy="2088537"/>
              </a:xfrm>
              <a:custGeom>
                <a:avLst/>
                <a:gdLst>
                  <a:gd name="connsiteX0" fmla="*/ 4875019 w 4875018"/>
                  <a:gd name="connsiteY0" fmla="*/ 140760 h 2088537"/>
                  <a:gd name="connsiteX1" fmla="*/ 4875019 w 4875018"/>
                  <a:gd name="connsiteY1" fmla="*/ 2007908 h 2088537"/>
                  <a:gd name="connsiteX2" fmla="*/ 4481779 w 4875018"/>
                  <a:gd name="connsiteY2" fmla="*/ 2021348 h 2088537"/>
                  <a:gd name="connsiteX3" fmla="*/ 2514800 w 4875018"/>
                  <a:gd name="connsiteY3" fmla="*/ 2088537 h 2088537"/>
                  <a:gd name="connsiteX4" fmla="*/ 0 w 4875018"/>
                  <a:gd name="connsiteY4" fmla="*/ 2007908 h 2088537"/>
                  <a:gd name="connsiteX5" fmla="*/ 0 w 4875018"/>
                  <a:gd name="connsiteY5" fmla="*/ 140760 h 2088537"/>
                  <a:gd name="connsiteX6" fmla="*/ 2597496 w 4875018"/>
                  <a:gd name="connsiteY6" fmla="*/ 0 h 2088537"/>
                  <a:gd name="connsiteX7" fmla="*/ 4497962 w 4875018"/>
                  <a:gd name="connsiteY7" fmla="*/ 117415 h 2088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875018" h="2088537">
                    <a:moveTo>
                      <a:pt x="4875019" y="140760"/>
                    </a:moveTo>
                    <a:lnTo>
                      <a:pt x="4875019" y="2007908"/>
                    </a:lnTo>
                    <a:lnTo>
                      <a:pt x="4481779" y="2021348"/>
                    </a:lnTo>
                    <a:lnTo>
                      <a:pt x="2514800" y="2088537"/>
                    </a:lnTo>
                    <a:lnTo>
                      <a:pt x="0" y="2007908"/>
                    </a:lnTo>
                    <a:lnTo>
                      <a:pt x="0" y="140760"/>
                    </a:lnTo>
                    <a:lnTo>
                      <a:pt x="2597496" y="0"/>
                    </a:lnTo>
                    <a:lnTo>
                      <a:pt x="4497962" y="117415"/>
                    </a:lnTo>
                    <a:close/>
                  </a:path>
                </a:pathLst>
              </a:custGeom>
              <a:solidFill>
                <a:srgbClr val="FD808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 49">
                <a:extLst>
                  <a:ext uri="{FF2B5EF4-FFF2-40B4-BE49-F238E27FC236}">
                    <a16:creationId xmlns:a16="http://schemas.microsoft.com/office/drawing/2014/main" id="{1C02F432-8662-B929-A51C-3A1AD4DC3C42}"/>
                  </a:ext>
                </a:extLst>
              </p:cNvPr>
              <p:cNvSpPr/>
              <p:nvPr/>
            </p:nvSpPr>
            <p:spPr>
              <a:xfrm>
                <a:off x="8111708" y="3695385"/>
                <a:ext cx="421786" cy="1903933"/>
              </a:xfrm>
              <a:custGeom>
                <a:avLst/>
                <a:gdLst>
                  <a:gd name="connsiteX0" fmla="*/ 421786 w 421786"/>
                  <a:gd name="connsiteY0" fmla="*/ 23346 h 1903933"/>
                  <a:gd name="connsiteX1" fmla="*/ 421786 w 421786"/>
                  <a:gd name="connsiteY1" fmla="*/ 1890493 h 1903933"/>
                  <a:gd name="connsiteX2" fmla="*/ 28547 w 421786"/>
                  <a:gd name="connsiteY2" fmla="*/ 1903933 h 1903933"/>
                  <a:gd name="connsiteX3" fmla="*/ 0 w 421786"/>
                  <a:gd name="connsiteY3" fmla="*/ 1890493 h 1903933"/>
                  <a:gd name="connsiteX4" fmla="*/ 0 w 421786"/>
                  <a:gd name="connsiteY4" fmla="*/ 23346 h 1903933"/>
                  <a:gd name="connsiteX5" fmla="*/ 44730 w 421786"/>
                  <a:gd name="connsiteY5" fmla="*/ 0 h 19039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21786" h="1903933">
                    <a:moveTo>
                      <a:pt x="421786" y="23346"/>
                    </a:moveTo>
                    <a:lnTo>
                      <a:pt x="421786" y="1890493"/>
                    </a:lnTo>
                    <a:lnTo>
                      <a:pt x="28547" y="1903933"/>
                    </a:lnTo>
                    <a:lnTo>
                      <a:pt x="0" y="1890493"/>
                    </a:lnTo>
                    <a:lnTo>
                      <a:pt x="0" y="23346"/>
                    </a:lnTo>
                    <a:lnTo>
                      <a:pt x="44730" y="0"/>
                    </a:lnTo>
                    <a:close/>
                  </a:path>
                </a:pathLst>
              </a:custGeom>
              <a:solidFill>
                <a:srgbClr val="FE64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 50">
                <a:extLst>
                  <a:ext uri="{FF2B5EF4-FFF2-40B4-BE49-F238E27FC236}">
                    <a16:creationId xmlns:a16="http://schemas.microsoft.com/office/drawing/2014/main" id="{8FB38A42-896A-BD18-8B5B-8A483FD47757}"/>
                  </a:ext>
                </a:extLst>
              </p:cNvPr>
              <p:cNvSpPr/>
              <p:nvPr/>
            </p:nvSpPr>
            <p:spPr>
              <a:xfrm>
                <a:off x="6326015" y="990601"/>
                <a:ext cx="2206496" cy="2208125"/>
              </a:xfrm>
              <a:custGeom>
                <a:avLst/>
                <a:gdLst>
                  <a:gd name="connsiteX0" fmla="*/ 1887097 w 2206496"/>
                  <a:gd name="connsiteY0" fmla="*/ 1863231 h 2208125"/>
                  <a:gd name="connsiteX1" fmla="*/ 1876457 w 2206496"/>
                  <a:gd name="connsiteY1" fmla="*/ 310532 h 2208125"/>
                  <a:gd name="connsiteX2" fmla="*/ 371088 w 2206496"/>
                  <a:gd name="connsiteY2" fmla="*/ 295673 h 2208125"/>
                  <a:gd name="connsiteX3" fmla="*/ 167787 w 2206496"/>
                  <a:gd name="connsiteY3" fmla="*/ 1631107 h 2208125"/>
                  <a:gd name="connsiteX4" fmla="*/ 172320 w 2206496"/>
                  <a:gd name="connsiteY4" fmla="*/ 1740140 h 2208125"/>
                  <a:gd name="connsiteX5" fmla="*/ 6719 w 2206496"/>
                  <a:gd name="connsiteY5" fmla="*/ 2105442 h 2208125"/>
                  <a:gd name="connsiteX6" fmla="*/ 102683 w 2206496"/>
                  <a:gd name="connsiteY6" fmla="*/ 2201407 h 2208125"/>
                  <a:gd name="connsiteX7" fmla="*/ 468005 w 2206496"/>
                  <a:gd name="connsiteY7" fmla="*/ 2035795 h 2208125"/>
                  <a:gd name="connsiteX8" fmla="*/ 577304 w 2206496"/>
                  <a:gd name="connsiteY8" fmla="*/ 2040501 h 2208125"/>
                  <a:gd name="connsiteX9" fmla="*/ 1887097 w 2206496"/>
                  <a:gd name="connsiteY9" fmla="*/ 1863231 h 220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206496" h="2208125">
                    <a:moveTo>
                      <a:pt x="1887097" y="1863231"/>
                    </a:moveTo>
                    <a:cubicBezTo>
                      <a:pt x="2316484" y="1433844"/>
                      <a:pt x="2312931" y="735471"/>
                      <a:pt x="1876457" y="310532"/>
                    </a:cubicBezTo>
                    <a:cubicBezTo>
                      <a:pt x="1457252" y="-97595"/>
                      <a:pt x="798046" y="-104329"/>
                      <a:pt x="371088" y="295673"/>
                    </a:cubicBezTo>
                    <a:cubicBezTo>
                      <a:pt x="-7102" y="649994"/>
                      <a:pt x="-74825" y="1204882"/>
                      <a:pt x="167787" y="1631107"/>
                    </a:cubicBezTo>
                    <a:cubicBezTo>
                      <a:pt x="186798" y="1664511"/>
                      <a:pt x="188189" y="1705135"/>
                      <a:pt x="172320" y="1740140"/>
                    </a:cubicBezTo>
                    <a:lnTo>
                      <a:pt x="6719" y="2105442"/>
                    </a:lnTo>
                    <a:cubicBezTo>
                      <a:pt x="-20913" y="2166393"/>
                      <a:pt x="41733" y="2229039"/>
                      <a:pt x="102683" y="2201407"/>
                    </a:cubicBezTo>
                    <a:lnTo>
                      <a:pt x="468005" y="2035795"/>
                    </a:lnTo>
                    <a:cubicBezTo>
                      <a:pt x="503114" y="2019879"/>
                      <a:pt x="543795" y="2021441"/>
                      <a:pt x="577304" y="2040501"/>
                    </a:cubicBezTo>
                    <a:cubicBezTo>
                      <a:pt x="993452" y="2277216"/>
                      <a:pt x="1532157" y="2218171"/>
                      <a:pt x="1887097" y="1863231"/>
                    </a:cubicBezTo>
                    <a:close/>
                  </a:path>
                </a:pathLst>
              </a:custGeom>
              <a:solidFill>
                <a:srgbClr val="EEF5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 51">
                <a:extLst>
                  <a:ext uri="{FF2B5EF4-FFF2-40B4-BE49-F238E27FC236}">
                    <a16:creationId xmlns:a16="http://schemas.microsoft.com/office/drawing/2014/main" id="{ED2AE3C5-8690-1A8B-2C08-599D45192957}"/>
                  </a:ext>
                </a:extLst>
              </p:cNvPr>
              <p:cNvSpPr/>
              <p:nvPr/>
            </p:nvSpPr>
            <p:spPr>
              <a:xfrm>
                <a:off x="7308865" y="993394"/>
                <a:ext cx="1223631" cy="2179731"/>
              </a:xfrm>
              <a:custGeom>
                <a:avLst/>
                <a:gdLst>
                  <a:gd name="connsiteX0" fmla="*/ 904275 w 1223631"/>
                  <a:gd name="connsiteY0" fmla="*/ 1860420 h 2179731"/>
                  <a:gd name="connsiteX1" fmla="*/ 781 w 1223631"/>
                  <a:gd name="connsiteY1" fmla="*/ 2171659 h 2179731"/>
                  <a:gd name="connsiteX2" fmla="*/ 638556 w 1223631"/>
                  <a:gd name="connsiteY2" fmla="*/ 1860420 h 2179731"/>
                  <a:gd name="connsiteX3" fmla="*/ 644738 w 1223631"/>
                  <a:gd name="connsiteY3" fmla="*/ 324542 h 2179731"/>
                  <a:gd name="connsiteX4" fmla="*/ 0 w 1223631"/>
                  <a:gd name="connsiteY4" fmla="*/ 8007 h 2179731"/>
                  <a:gd name="connsiteX5" fmla="*/ 910466 w 1223631"/>
                  <a:gd name="connsiteY5" fmla="*/ 324542 h 2179731"/>
                  <a:gd name="connsiteX6" fmla="*/ 904275 w 1223631"/>
                  <a:gd name="connsiteY6" fmla="*/ 1860420 h 21797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3631" h="2179731">
                    <a:moveTo>
                      <a:pt x="904275" y="1860420"/>
                    </a:moveTo>
                    <a:cubicBezTo>
                      <a:pt x="657578" y="2107117"/>
                      <a:pt x="322117" y="2210892"/>
                      <a:pt x="781" y="2171659"/>
                    </a:cubicBezTo>
                    <a:cubicBezTo>
                      <a:pt x="233934" y="2143112"/>
                      <a:pt x="459543" y="2039433"/>
                      <a:pt x="638556" y="1860420"/>
                    </a:cubicBezTo>
                    <a:cubicBezTo>
                      <a:pt x="1062304" y="1436672"/>
                      <a:pt x="1064362" y="750833"/>
                      <a:pt x="644738" y="324542"/>
                    </a:cubicBezTo>
                    <a:cubicBezTo>
                      <a:pt x="465725" y="142586"/>
                      <a:pt x="236887" y="36849"/>
                      <a:pt x="0" y="8007"/>
                    </a:cubicBezTo>
                    <a:cubicBezTo>
                      <a:pt x="325260" y="-31426"/>
                      <a:pt x="664845" y="74901"/>
                      <a:pt x="910466" y="324542"/>
                    </a:cubicBezTo>
                    <a:cubicBezTo>
                      <a:pt x="1330071" y="750843"/>
                      <a:pt x="1328013" y="1436681"/>
                      <a:pt x="904275" y="1860420"/>
                    </a:cubicBezTo>
                    <a:close/>
                  </a:path>
                </a:pathLst>
              </a:custGeom>
              <a:solidFill>
                <a:srgbClr val="DEECF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 52">
                <a:extLst>
                  <a:ext uri="{FF2B5EF4-FFF2-40B4-BE49-F238E27FC236}">
                    <a16:creationId xmlns:a16="http://schemas.microsoft.com/office/drawing/2014/main" id="{9CD3BC5E-2540-DD94-321D-5D18A667B0EE}"/>
                  </a:ext>
                </a:extLst>
              </p:cNvPr>
              <p:cNvSpPr/>
              <p:nvPr/>
            </p:nvSpPr>
            <p:spPr>
              <a:xfrm>
                <a:off x="6608993" y="1265841"/>
                <a:ext cx="1479693" cy="1630254"/>
              </a:xfrm>
              <a:custGeom>
                <a:avLst/>
                <a:gdLst>
                  <a:gd name="connsiteX0" fmla="*/ 1479694 w 1479693"/>
                  <a:gd name="connsiteY0" fmla="*/ 814733 h 1630254"/>
                  <a:gd name="connsiteX1" fmla="*/ 680337 w 1479693"/>
                  <a:gd name="connsiteY1" fmla="*/ 1630245 h 1630254"/>
                  <a:gd name="connsiteX2" fmla="*/ 26284 w 1479693"/>
                  <a:gd name="connsiteY2" fmla="*/ 616203 h 1630254"/>
                  <a:gd name="connsiteX3" fmla="*/ 682985 w 1479693"/>
                  <a:gd name="connsiteY3" fmla="*/ 12 h 1630254"/>
                  <a:gd name="connsiteX4" fmla="*/ 1479694 w 1479693"/>
                  <a:gd name="connsiteY4" fmla="*/ 814733 h 1630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9693" h="1630254">
                    <a:moveTo>
                      <a:pt x="1479694" y="814733"/>
                    </a:moveTo>
                    <a:cubicBezTo>
                      <a:pt x="1479694" y="1642579"/>
                      <a:pt x="680337" y="1630245"/>
                      <a:pt x="680337" y="1630245"/>
                    </a:cubicBezTo>
                    <a:cubicBezTo>
                      <a:pt x="217660" y="1557969"/>
                      <a:pt x="-95084" y="1083814"/>
                      <a:pt x="26284" y="616203"/>
                    </a:cubicBezTo>
                    <a:cubicBezTo>
                      <a:pt x="103465" y="302440"/>
                      <a:pt x="362288" y="58591"/>
                      <a:pt x="682985" y="12"/>
                    </a:cubicBezTo>
                    <a:cubicBezTo>
                      <a:pt x="682985" y="12"/>
                      <a:pt x="1479694" y="-13037"/>
                      <a:pt x="1479694" y="814733"/>
                    </a:cubicBezTo>
                    <a:close/>
                  </a:path>
                </a:pathLst>
              </a:custGeom>
              <a:solidFill>
                <a:srgbClr val="FD475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 53">
                <a:extLst>
                  <a:ext uri="{FF2B5EF4-FFF2-40B4-BE49-F238E27FC236}">
                    <a16:creationId xmlns:a16="http://schemas.microsoft.com/office/drawing/2014/main" id="{E8882F0B-8353-63EC-252D-99428C976733}"/>
                  </a:ext>
                </a:extLst>
              </p:cNvPr>
              <p:cNvSpPr/>
              <p:nvPr/>
            </p:nvSpPr>
            <p:spPr>
              <a:xfrm>
                <a:off x="7289339" y="1252804"/>
                <a:ext cx="977460" cy="1655621"/>
              </a:xfrm>
              <a:custGeom>
                <a:avLst/>
                <a:gdLst>
                  <a:gd name="connsiteX0" fmla="*/ 977455 w 977460"/>
                  <a:gd name="connsiteY0" fmla="*/ 827780 h 1655621"/>
                  <a:gd name="connsiteX1" fmla="*/ 149685 w 977460"/>
                  <a:gd name="connsiteY1" fmla="*/ 1655550 h 1655621"/>
                  <a:gd name="connsiteX2" fmla="*/ 0 w 977460"/>
                  <a:gd name="connsiteY2" fmla="*/ 1643291 h 1655621"/>
                  <a:gd name="connsiteX3" fmla="*/ 683190 w 977460"/>
                  <a:gd name="connsiteY3" fmla="*/ 827780 h 1655621"/>
                  <a:gd name="connsiteX4" fmla="*/ 2648 w 977460"/>
                  <a:gd name="connsiteY4" fmla="*/ 13049 h 1655621"/>
                  <a:gd name="connsiteX5" fmla="*/ 149685 w 977460"/>
                  <a:gd name="connsiteY5" fmla="*/ 0 h 1655621"/>
                  <a:gd name="connsiteX6" fmla="*/ 977455 w 977460"/>
                  <a:gd name="connsiteY6" fmla="*/ 827780 h 1655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77460" h="1655621">
                    <a:moveTo>
                      <a:pt x="977455" y="827780"/>
                    </a:moveTo>
                    <a:cubicBezTo>
                      <a:pt x="979027" y="1288990"/>
                      <a:pt x="596875" y="1658198"/>
                      <a:pt x="149685" y="1655550"/>
                    </a:cubicBezTo>
                    <a:cubicBezTo>
                      <a:pt x="98479" y="1656236"/>
                      <a:pt x="48463" y="1652016"/>
                      <a:pt x="0" y="1643291"/>
                    </a:cubicBezTo>
                    <a:cubicBezTo>
                      <a:pt x="381962" y="1575997"/>
                      <a:pt x="684562" y="1238383"/>
                      <a:pt x="683190" y="827780"/>
                    </a:cubicBezTo>
                    <a:cubicBezTo>
                      <a:pt x="683190" y="420910"/>
                      <a:pt x="389611" y="82496"/>
                      <a:pt x="2648" y="13049"/>
                    </a:cubicBezTo>
                    <a:cubicBezTo>
                      <a:pt x="50320" y="4515"/>
                      <a:pt x="99460" y="0"/>
                      <a:pt x="149685" y="0"/>
                    </a:cubicBezTo>
                    <a:cubicBezTo>
                      <a:pt x="606876" y="0"/>
                      <a:pt x="977455" y="370684"/>
                      <a:pt x="977455" y="827780"/>
                    </a:cubicBezTo>
                    <a:close/>
                  </a:path>
                </a:pathLst>
              </a:custGeom>
              <a:solidFill>
                <a:srgbClr val="FB2B3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 54">
                <a:extLst>
                  <a:ext uri="{FF2B5EF4-FFF2-40B4-BE49-F238E27FC236}">
                    <a16:creationId xmlns:a16="http://schemas.microsoft.com/office/drawing/2014/main" id="{24D1DE1A-3E77-21D5-0E8B-BDC1CB185A5A}"/>
                  </a:ext>
                </a:extLst>
              </p:cNvPr>
              <p:cNvSpPr/>
              <p:nvPr/>
            </p:nvSpPr>
            <p:spPr>
              <a:xfrm>
                <a:off x="3658476" y="3437258"/>
                <a:ext cx="4875018" cy="281511"/>
              </a:xfrm>
              <a:custGeom>
                <a:avLst/>
                <a:gdLst>
                  <a:gd name="connsiteX0" fmla="*/ 4453233 w 4875018"/>
                  <a:gd name="connsiteY0" fmla="*/ 281473 h 281511"/>
                  <a:gd name="connsiteX1" fmla="*/ 0 w 4875018"/>
                  <a:gd name="connsiteY1" fmla="*/ 281511 h 281511"/>
                  <a:gd name="connsiteX2" fmla="*/ 0 w 4875018"/>
                  <a:gd name="connsiteY2" fmla="*/ 97393 h 281511"/>
                  <a:gd name="connsiteX3" fmla="*/ 97393 w 4875018"/>
                  <a:gd name="connsiteY3" fmla="*/ 0 h 281511"/>
                  <a:gd name="connsiteX4" fmla="*/ 4777626 w 4875018"/>
                  <a:gd name="connsiteY4" fmla="*/ 0 h 281511"/>
                  <a:gd name="connsiteX5" fmla="*/ 4875019 w 4875018"/>
                  <a:gd name="connsiteY5" fmla="*/ 97393 h 28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875018" h="281511">
                    <a:moveTo>
                      <a:pt x="4453233" y="281473"/>
                    </a:moveTo>
                    <a:lnTo>
                      <a:pt x="0" y="281511"/>
                    </a:lnTo>
                    <a:lnTo>
                      <a:pt x="0" y="97393"/>
                    </a:lnTo>
                    <a:cubicBezTo>
                      <a:pt x="0" y="43605"/>
                      <a:pt x="43605" y="0"/>
                      <a:pt x="97393" y="0"/>
                    </a:cubicBezTo>
                    <a:lnTo>
                      <a:pt x="4777626" y="0"/>
                    </a:lnTo>
                    <a:cubicBezTo>
                      <a:pt x="4831414" y="0"/>
                      <a:pt x="4875019" y="43605"/>
                      <a:pt x="4875019" y="97393"/>
                    </a:cubicBezTo>
                    <a:close/>
                  </a:path>
                </a:pathLst>
              </a:custGeom>
              <a:solidFill>
                <a:srgbClr val="FFDF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 55">
                <a:extLst>
                  <a:ext uri="{FF2B5EF4-FFF2-40B4-BE49-F238E27FC236}">
                    <a16:creationId xmlns:a16="http://schemas.microsoft.com/office/drawing/2014/main" id="{5109AB04-F9AA-94FB-2026-EBC0675F92E2}"/>
                  </a:ext>
                </a:extLst>
              </p:cNvPr>
              <p:cNvSpPr/>
              <p:nvPr/>
            </p:nvSpPr>
            <p:spPr>
              <a:xfrm>
                <a:off x="8044500" y="3437220"/>
                <a:ext cx="488994" cy="281511"/>
              </a:xfrm>
              <a:custGeom>
                <a:avLst/>
                <a:gdLst>
                  <a:gd name="connsiteX0" fmla="*/ 488995 w 488994"/>
                  <a:gd name="connsiteY0" fmla="*/ 97384 h 281511"/>
                  <a:gd name="connsiteX1" fmla="*/ 488995 w 488994"/>
                  <a:gd name="connsiteY1" fmla="*/ 281511 h 281511"/>
                  <a:gd name="connsiteX2" fmla="*/ 67208 w 488994"/>
                  <a:gd name="connsiteY2" fmla="*/ 281511 h 281511"/>
                  <a:gd name="connsiteX3" fmla="*/ 67208 w 488994"/>
                  <a:gd name="connsiteY3" fmla="*/ 111528 h 281511"/>
                  <a:gd name="connsiteX4" fmla="*/ 0 w 488994"/>
                  <a:gd name="connsiteY4" fmla="*/ 0 h 281511"/>
                  <a:gd name="connsiteX5" fmla="*/ 391601 w 488994"/>
                  <a:gd name="connsiteY5" fmla="*/ 0 h 281511"/>
                  <a:gd name="connsiteX6" fmla="*/ 488995 w 488994"/>
                  <a:gd name="connsiteY6" fmla="*/ 97384 h 28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994" h="281511">
                    <a:moveTo>
                      <a:pt x="488995" y="97384"/>
                    </a:moveTo>
                    <a:lnTo>
                      <a:pt x="488995" y="281511"/>
                    </a:lnTo>
                    <a:lnTo>
                      <a:pt x="67208" y="281511"/>
                    </a:lnTo>
                    <a:lnTo>
                      <a:pt x="67208" y="111528"/>
                    </a:lnTo>
                    <a:cubicBezTo>
                      <a:pt x="67208" y="64770"/>
                      <a:pt x="41339" y="21841"/>
                      <a:pt x="0" y="0"/>
                    </a:cubicBezTo>
                    <a:lnTo>
                      <a:pt x="391601" y="0"/>
                    </a:lnTo>
                    <a:cubicBezTo>
                      <a:pt x="445389" y="-10"/>
                      <a:pt x="488995" y="43596"/>
                      <a:pt x="488995" y="97384"/>
                    </a:cubicBezTo>
                    <a:close/>
                  </a:path>
                </a:pathLst>
              </a:custGeom>
              <a:solidFill>
                <a:srgbClr val="FFCE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7" name="Freihandform 56">
                <a:extLst>
                  <a:ext uri="{FF2B5EF4-FFF2-40B4-BE49-F238E27FC236}">
                    <a16:creationId xmlns:a16="http://schemas.microsoft.com/office/drawing/2014/main" id="{661B375A-5C73-D6E4-45A7-F77FA53B4558}"/>
                  </a:ext>
                </a:extLst>
              </p:cNvPr>
              <p:cNvSpPr/>
              <p:nvPr/>
            </p:nvSpPr>
            <p:spPr>
              <a:xfrm>
                <a:off x="3658476" y="5585888"/>
                <a:ext cx="4875018" cy="281511"/>
              </a:xfrm>
              <a:custGeom>
                <a:avLst/>
                <a:gdLst>
                  <a:gd name="connsiteX0" fmla="*/ 4777626 w 4875018"/>
                  <a:gd name="connsiteY0" fmla="*/ 281511 h 281511"/>
                  <a:gd name="connsiteX1" fmla="*/ 97393 w 4875018"/>
                  <a:gd name="connsiteY1" fmla="*/ 281511 h 281511"/>
                  <a:gd name="connsiteX2" fmla="*/ 0 w 4875018"/>
                  <a:gd name="connsiteY2" fmla="*/ 184118 h 281511"/>
                  <a:gd name="connsiteX3" fmla="*/ 0 w 4875018"/>
                  <a:gd name="connsiteY3" fmla="*/ 0 h 281511"/>
                  <a:gd name="connsiteX4" fmla="*/ 4453233 w 4875018"/>
                  <a:gd name="connsiteY4" fmla="*/ 0 h 281511"/>
                  <a:gd name="connsiteX5" fmla="*/ 4875019 w 4875018"/>
                  <a:gd name="connsiteY5" fmla="*/ 184128 h 281511"/>
                  <a:gd name="connsiteX6" fmla="*/ 4777626 w 4875018"/>
                  <a:gd name="connsiteY6" fmla="*/ 281511 h 2815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75018" h="281511">
                    <a:moveTo>
                      <a:pt x="4777626" y="281511"/>
                    </a:moveTo>
                    <a:lnTo>
                      <a:pt x="97393" y="281511"/>
                    </a:lnTo>
                    <a:cubicBezTo>
                      <a:pt x="43605" y="281511"/>
                      <a:pt x="0" y="237906"/>
                      <a:pt x="0" y="184118"/>
                    </a:cubicBezTo>
                    <a:lnTo>
                      <a:pt x="0" y="0"/>
                    </a:lnTo>
                    <a:lnTo>
                      <a:pt x="4453233" y="0"/>
                    </a:lnTo>
                    <a:lnTo>
                      <a:pt x="4875019" y="184128"/>
                    </a:lnTo>
                    <a:cubicBezTo>
                      <a:pt x="4875019" y="237906"/>
                      <a:pt x="4831414" y="281511"/>
                      <a:pt x="4777626" y="281511"/>
                    </a:cubicBezTo>
                    <a:close/>
                  </a:path>
                </a:pathLst>
              </a:custGeom>
              <a:solidFill>
                <a:srgbClr val="FFDFC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8" name="Freihandform 57">
                <a:extLst>
                  <a:ext uri="{FF2B5EF4-FFF2-40B4-BE49-F238E27FC236}">
                    <a16:creationId xmlns:a16="http://schemas.microsoft.com/office/drawing/2014/main" id="{4803C615-3700-18FA-4B2B-7FA08253A639}"/>
                  </a:ext>
                </a:extLst>
              </p:cNvPr>
              <p:cNvSpPr/>
              <p:nvPr/>
            </p:nvSpPr>
            <p:spPr>
              <a:xfrm>
                <a:off x="8066589" y="5585879"/>
                <a:ext cx="466906" cy="281520"/>
              </a:xfrm>
              <a:custGeom>
                <a:avLst/>
                <a:gdLst>
                  <a:gd name="connsiteX0" fmla="*/ 466906 w 466906"/>
                  <a:gd name="connsiteY0" fmla="*/ 0 h 281520"/>
                  <a:gd name="connsiteX1" fmla="*/ 466906 w 466906"/>
                  <a:gd name="connsiteY1" fmla="*/ 184128 h 281520"/>
                  <a:gd name="connsiteX2" fmla="*/ 369513 w 466906"/>
                  <a:gd name="connsiteY2" fmla="*/ 281521 h 281520"/>
                  <a:gd name="connsiteX3" fmla="*/ 0 w 466906"/>
                  <a:gd name="connsiteY3" fmla="*/ 281521 h 281520"/>
                  <a:gd name="connsiteX4" fmla="*/ 45120 w 466906"/>
                  <a:gd name="connsiteY4" fmla="*/ 182309 h 281520"/>
                  <a:gd name="connsiteX5" fmla="*/ 45120 w 466906"/>
                  <a:gd name="connsiteY5" fmla="*/ 10 h 281520"/>
                  <a:gd name="connsiteX6" fmla="*/ 466906 w 466906"/>
                  <a:gd name="connsiteY6" fmla="*/ 10 h 2815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6906" h="281520">
                    <a:moveTo>
                      <a:pt x="466906" y="0"/>
                    </a:moveTo>
                    <a:lnTo>
                      <a:pt x="466906" y="184128"/>
                    </a:lnTo>
                    <a:cubicBezTo>
                      <a:pt x="466906" y="237915"/>
                      <a:pt x="423301" y="281521"/>
                      <a:pt x="369513" y="281521"/>
                    </a:cubicBezTo>
                    <a:lnTo>
                      <a:pt x="0" y="281521"/>
                    </a:lnTo>
                    <a:cubicBezTo>
                      <a:pt x="28661" y="256518"/>
                      <a:pt x="45120" y="220342"/>
                      <a:pt x="45120" y="182309"/>
                    </a:cubicBezTo>
                    <a:lnTo>
                      <a:pt x="45120" y="10"/>
                    </a:lnTo>
                    <a:lnTo>
                      <a:pt x="466906" y="10"/>
                    </a:lnTo>
                    <a:close/>
                  </a:path>
                </a:pathLst>
              </a:custGeom>
              <a:solidFill>
                <a:srgbClr val="FFCEB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9" name="Freihandform 58">
              <a:extLst>
                <a:ext uri="{FF2B5EF4-FFF2-40B4-BE49-F238E27FC236}">
                  <a16:creationId xmlns:a16="http://schemas.microsoft.com/office/drawing/2014/main" id="{B102798A-8020-B1B6-2BBE-5705CBFEBEBD}"/>
                </a:ext>
              </a:extLst>
            </p:cNvPr>
            <p:cNvSpPr/>
            <p:nvPr/>
          </p:nvSpPr>
          <p:spPr>
            <a:xfrm rot="-3985976">
              <a:off x="4236802" y="4535478"/>
              <a:ext cx="573583" cy="868570"/>
            </a:xfrm>
            <a:custGeom>
              <a:avLst/>
              <a:gdLst>
                <a:gd name="connsiteX0" fmla="*/ 573584 w 573583"/>
                <a:gd name="connsiteY0" fmla="*/ 434285 h 868570"/>
                <a:gd name="connsiteX1" fmla="*/ 286792 w 573583"/>
                <a:gd name="connsiteY1" fmla="*/ 868571 h 868570"/>
                <a:gd name="connsiteX2" fmla="*/ 0 w 573583"/>
                <a:gd name="connsiteY2" fmla="*/ 434285 h 868570"/>
                <a:gd name="connsiteX3" fmla="*/ 286792 w 573583"/>
                <a:gd name="connsiteY3" fmla="*/ 0 h 868570"/>
                <a:gd name="connsiteX4" fmla="*/ 573584 w 573583"/>
                <a:gd name="connsiteY4" fmla="*/ 434285 h 868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583" h="868570">
                  <a:moveTo>
                    <a:pt x="573584" y="434285"/>
                  </a:moveTo>
                  <a:cubicBezTo>
                    <a:pt x="573584" y="674135"/>
                    <a:pt x="445183" y="868571"/>
                    <a:pt x="286792" y="868571"/>
                  </a:cubicBezTo>
                  <a:cubicBezTo>
                    <a:pt x="128401" y="868571"/>
                    <a:pt x="0" y="674135"/>
                    <a:pt x="0" y="434285"/>
                  </a:cubicBezTo>
                  <a:cubicBezTo>
                    <a:pt x="0" y="194436"/>
                    <a:pt x="128401" y="0"/>
                    <a:pt x="286792" y="0"/>
                  </a:cubicBezTo>
                  <a:cubicBezTo>
                    <a:pt x="445183" y="0"/>
                    <a:pt x="573584" y="194436"/>
                    <a:pt x="573584" y="434285"/>
                  </a:cubicBezTo>
                  <a:close/>
                </a:path>
              </a:pathLst>
            </a:custGeom>
            <a:solidFill>
              <a:srgbClr val="FD4755"/>
            </a:solidFill>
            <a:ln w="952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 59">
              <a:extLst>
                <a:ext uri="{FF2B5EF4-FFF2-40B4-BE49-F238E27FC236}">
                  <a16:creationId xmlns:a16="http://schemas.microsoft.com/office/drawing/2014/main" id="{2EC9F095-4366-874D-8E9A-96859BA96948}"/>
                </a:ext>
              </a:extLst>
            </p:cNvPr>
            <p:cNvSpPr/>
            <p:nvPr/>
          </p:nvSpPr>
          <p:spPr>
            <a:xfrm rot="-1287664">
              <a:off x="6836084" y="3741835"/>
              <a:ext cx="868495" cy="573534"/>
            </a:xfrm>
            <a:custGeom>
              <a:avLst/>
              <a:gdLst>
                <a:gd name="connsiteX0" fmla="*/ 868496 w 868495"/>
                <a:gd name="connsiteY0" fmla="*/ 286767 h 573534"/>
                <a:gd name="connsiteX1" fmla="*/ 434248 w 868495"/>
                <a:gd name="connsiteY1" fmla="*/ 573534 h 573534"/>
                <a:gd name="connsiteX2" fmla="*/ 0 w 868495"/>
                <a:gd name="connsiteY2" fmla="*/ 286767 h 573534"/>
                <a:gd name="connsiteX3" fmla="*/ 434248 w 868495"/>
                <a:gd name="connsiteY3" fmla="*/ 0 h 573534"/>
                <a:gd name="connsiteX4" fmla="*/ 868496 w 868495"/>
                <a:gd name="connsiteY4" fmla="*/ 286767 h 573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68495" h="573534">
                  <a:moveTo>
                    <a:pt x="868496" y="286767"/>
                  </a:moveTo>
                  <a:cubicBezTo>
                    <a:pt x="868496" y="445144"/>
                    <a:pt x="674077" y="573534"/>
                    <a:pt x="434248" y="573534"/>
                  </a:cubicBezTo>
                  <a:cubicBezTo>
                    <a:pt x="194420" y="573534"/>
                    <a:pt x="0" y="445144"/>
                    <a:pt x="0" y="286767"/>
                  </a:cubicBezTo>
                  <a:cubicBezTo>
                    <a:pt x="0" y="128390"/>
                    <a:pt x="194420" y="0"/>
                    <a:pt x="434248" y="0"/>
                  </a:cubicBezTo>
                  <a:cubicBezTo>
                    <a:pt x="674077" y="0"/>
                    <a:pt x="868496" y="128390"/>
                    <a:pt x="868496" y="286767"/>
                  </a:cubicBezTo>
                  <a:close/>
                </a:path>
              </a:pathLst>
            </a:custGeom>
            <a:solidFill>
              <a:srgbClr val="FD4755"/>
            </a:solidFill>
            <a:ln w="95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 60">
              <a:extLst>
                <a:ext uri="{FF2B5EF4-FFF2-40B4-BE49-F238E27FC236}">
                  <a16:creationId xmlns:a16="http://schemas.microsoft.com/office/drawing/2014/main" id="{0B9720B4-BC22-76FA-60E9-C7F192C7DF94}"/>
                </a:ext>
              </a:extLst>
            </p:cNvPr>
            <p:cNvSpPr/>
            <p:nvPr/>
          </p:nvSpPr>
          <p:spPr>
            <a:xfrm>
              <a:off x="7698428" y="4521336"/>
              <a:ext cx="576472" cy="607730"/>
            </a:xfrm>
            <a:custGeom>
              <a:avLst/>
              <a:gdLst>
                <a:gd name="connsiteX0" fmla="*/ 576472 w 576472"/>
                <a:gd name="connsiteY0" fmla="*/ 355502 h 607730"/>
                <a:gd name="connsiteX1" fmla="*/ 413280 w 576472"/>
                <a:gd name="connsiteY1" fmla="*/ 596275 h 607730"/>
                <a:gd name="connsiteX2" fmla="*/ 13469 w 576472"/>
                <a:gd name="connsiteY2" fmla="*/ 456009 h 607730"/>
                <a:gd name="connsiteX3" fmla="*/ 312734 w 576472"/>
                <a:gd name="connsiteY3" fmla="*/ 30404 h 607730"/>
                <a:gd name="connsiteX4" fmla="*/ 413271 w 576472"/>
                <a:gd name="connsiteY4" fmla="*/ 0 h 60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6472" h="607730">
                  <a:moveTo>
                    <a:pt x="576472" y="355502"/>
                  </a:moveTo>
                  <a:lnTo>
                    <a:pt x="413280" y="596275"/>
                  </a:lnTo>
                  <a:cubicBezTo>
                    <a:pt x="229267" y="633251"/>
                    <a:pt x="61922" y="579206"/>
                    <a:pt x="13469" y="456009"/>
                  </a:cubicBezTo>
                  <a:cubicBezTo>
                    <a:pt x="-44405" y="308581"/>
                    <a:pt x="89583" y="118091"/>
                    <a:pt x="312734" y="30404"/>
                  </a:cubicBezTo>
                  <a:cubicBezTo>
                    <a:pt x="346377" y="17259"/>
                    <a:pt x="380124" y="7153"/>
                    <a:pt x="413271" y="0"/>
                  </a:cubicBezTo>
                  <a:close/>
                </a:path>
              </a:pathLst>
            </a:custGeom>
            <a:solidFill>
              <a:srgbClr val="FD47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 61">
              <a:extLst>
                <a:ext uri="{FF2B5EF4-FFF2-40B4-BE49-F238E27FC236}">
                  <a16:creationId xmlns:a16="http://schemas.microsoft.com/office/drawing/2014/main" id="{FBF7BC6D-7FBA-8717-B155-C3B4BBC2C0C8}"/>
                </a:ext>
              </a:extLst>
            </p:cNvPr>
            <p:cNvSpPr/>
            <p:nvPr/>
          </p:nvSpPr>
          <p:spPr>
            <a:xfrm>
              <a:off x="8111718" y="4508085"/>
              <a:ext cx="421811" cy="609525"/>
            </a:xfrm>
            <a:custGeom>
              <a:avLst/>
              <a:gdLst>
                <a:gd name="connsiteX0" fmla="*/ 109071 w 421811"/>
                <a:gd name="connsiteY0" fmla="*/ 577350 h 609525"/>
                <a:gd name="connsiteX1" fmla="*/ 0 w 421811"/>
                <a:gd name="connsiteY1" fmla="*/ 609525 h 609525"/>
                <a:gd name="connsiteX2" fmla="*/ 0 w 421811"/>
                <a:gd name="connsiteY2" fmla="*/ 13241 h 609525"/>
                <a:gd name="connsiteX3" fmla="*/ 408346 w 421811"/>
                <a:gd name="connsiteY3" fmla="*/ 151839 h 609525"/>
                <a:gd name="connsiteX4" fmla="*/ 109071 w 421811"/>
                <a:gd name="connsiteY4" fmla="*/ 577350 h 60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1811" h="609525">
                  <a:moveTo>
                    <a:pt x="109071" y="577350"/>
                  </a:moveTo>
                  <a:cubicBezTo>
                    <a:pt x="72580" y="591675"/>
                    <a:pt x="35995" y="602362"/>
                    <a:pt x="0" y="609525"/>
                  </a:cubicBezTo>
                  <a:lnTo>
                    <a:pt x="0" y="13241"/>
                  </a:lnTo>
                  <a:cubicBezTo>
                    <a:pt x="187347" y="-27173"/>
                    <a:pt x="359102" y="26586"/>
                    <a:pt x="408346" y="151839"/>
                  </a:cubicBezTo>
                  <a:cubicBezTo>
                    <a:pt x="466211" y="299172"/>
                    <a:pt x="332222" y="489653"/>
                    <a:pt x="109071" y="577350"/>
                  </a:cubicBezTo>
                  <a:close/>
                </a:path>
              </a:pathLst>
            </a:custGeom>
            <a:solidFill>
              <a:srgbClr val="FB2B3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 62">
              <a:extLst>
                <a:ext uri="{FF2B5EF4-FFF2-40B4-BE49-F238E27FC236}">
                  <a16:creationId xmlns:a16="http://schemas.microsoft.com/office/drawing/2014/main" id="{69FB9072-9013-82A1-5282-DC5434F1F789}"/>
                </a:ext>
              </a:extLst>
            </p:cNvPr>
            <p:cNvSpPr/>
            <p:nvPr/>
          </p:nvSpPr>
          <p:spPr>
            <a:xfrm rot="-5320946">
              <a:off x="6101739" y="4864833"/>
              <a:ext cx="573480" cy="868414"/>
            </a:xfrm>
            <a:custGeom>
              <a:avLst/>
              <a:gdLst>
                <a:gd name="connsiteX0" fmla="*/ 573481 w 573480"/>
                <a:gd name="connsiteY0" fmla="*/ 434207 h 868414"/>
                <a:gd name="connsiteX1" fmla="*/ 286740 w 573480"/>
                <a:gd name="connsiteY1" fmla="*/ 868414 h 868414"/>
                <a:gd name="connsiteX2" fmla="*/ 0 w 573480"/>
                <a:gd name="connsiteY2" fmla="*/ 434207 h 868414"/>
                <a:gd name="connsiteX3" fmla="*/ 286740 w 573480"/>
                <a:gd name="connsiteY3" fmla="*/ 0 h 868414"/>
                <a:gd name="connsiteX4" fmla="*/ 573481 w 573480"/>
                <a:gd name="connsiteY4" fmla="*/ 434207 h 8684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3480" h="868414">
                  <a:moveTo>
                    <a:pt x="573481" y="434207"/>
                  </a:moveTo>
                  <a:cubicBezTo>
                    <a:pt x="573481" y="674013"/>
                    <a:pt x="445103" y="868414"/>
                    <a:pt x="286740" y="868414"/>
                  </a:cubicBezTo>
                  <a:cubicBezTo>
                    <a:pt x="128378" y="868414"/>
                    <a:pt x="0" y="674013"/>
                    <a:pt x="0" y="434207"/>
                  </a:cubicBezTo>
                  <a:cubicBezTo>
                    <a:pt x="0" y="194401"/>
                    <a:pt x="128378" y="0"/>
                    <a:pt x="286740" y="0"/>
                  </a:cubicBezTo>
                  <a:cubicBezTo>
                    <a:pt x="445102" y="0"/>
                    <a:pt x="573481" y="194401"/>
                    <a:pt x="573481" y="434207"/>
                  </a:cubicBezTo>
                  <a:close/>
                </a:path>
              </a:pathLst>
            </a:custGeom>
            <a:solidFill>
              <a:srgbClr val="FD4755"/>
            </a:solidFill>
            <a:ln w="95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 63">
              <a:extLst>
                <a:ext uri="{FF2B5EF4-FFF2-40B4-BE49-F238E27FC236}">
                  <a16:creationId xmlns:a16="http://schemas.microsoft.com/office/drawing/2014/main" id="{B8AEB012-F283-B533-8D7D-F0A98DFA7FDA}"/>
                </a:ext>
              </a:extLst>
            </p:cNvPr>
            <p:cNvSpPr/>
            <p:nvPr/>
          </p:nvSpPr>
          <p:spPr>
            <a:xfrm>
              <a:off x="5307269" y="4057512"/>
              <a:ext cx="569760" cy="561626"/>
            </a:xfrm>
            <a:custGeom>
              <a:avLst/>
              <a:gdLst>
                <a:gd name="connsiteX0" fmla="*/ 364782 w 569760"/>
                <a:gd name="connsiteY0" fmla="*/ 7472 h 561626"/>
                <a:gd name="connsiteX1" fmla="*/ 394090 w 569760"/>
                <a:gd name="connsiteY1" fmla="*/ 18140 h 561626"/>
                <a:gd name="connsiteX2" fmla="*/ 516515 w 569760"/>
                <a:gd name="connsiteY2" fmla="*/ 120867 h 561626"/>
                <a:gd name="connsiteX3" fmla="*/ 532108 w 569760"/>
                <a:gd name="connsiteY3" fmla="*/ 147880 h 561626"/>
                <a:gd name="connsiteX4" fmla="*/ 559854 w 569760"/>
                <a:gd name="connsiteY4" fmla="*/ 305261 h 561626"/>
                <a:gd name="connsiteX5" fmla="*/ 554434 w 569760"/>
                <a:gd name="connsiteY5" fmla="*/ 335979 h 561626"/>
                <a:gd name="connsiteX6" fmla="*/ 474529 w 569760"/>
                <a:gd name="connsiteY6" fmla="*/ 474378 h 561626"/>
                <a:gd name="connsiteX7" fmla="*/ 450640 w 569760"/>
                <a:gd name="connsiteY7" fmla="*/ 494428 h 561626"/>
                <a:gd name="connsiteX8" fmla="*/ 300469 w 569760"/>
                <a:gd name="connsiteY8" fmla="*/ 549082 h 561626"/>
                <a:gd name="connsiteX9" fmla="*/ 269284 w 569760"/>
                <a:gd name="connsiteY9" fmla="*/ 549082 h 561626"/>
                <a:gd name="connsiteX10" fmla="*/ 119113 w 569760"/>
                <a:gd name="connsiteY10" fmla="*/ 494428 h 561626"/>
                <a:gd name="connsiteX11" fmla="*/ 95224 w 569760"/>
                <a:gd name="connsiteY11" fmla="*/ 474378 h 561626"/>
                <a:gd name="connsiteX12" fmla="*/ 15319 w 569760"/>
                <a:gd name="connsiteY12" fmla="*/ 335979 h 561626"/>
                <a:gd name="connsiteX13" fmla="*/ 9899 w 569760"/>
                <a:gd name="connsiteY13" fmla="*/ 305261 h 561626"/>
                <a:gd name="connsiteX14" fmla="*/ 37646 w 569760"/>
                <a:gd name="connsiteY14" fmla="*/ 147880 h 561626"/>
                <a:gd name="connsiteX15" fmla="*/ 53238 w 569760"/>
                <a:gd name="connsiteY15" fmla="*/ 120867 h 561626"/>
                <a:gd name="connsiteX16" fmla="*/ 175663 w 569760"/>
                <a:gd name="connsiteY16" fmla="*/ 18140 h 561626"/>
                <a:gd name="connsiteX17" fmla="*/ 204971 w 569760"/>
                <a:gd name="connsiteY17" fmla="*/ 7472 h 561626"/>
                <a:gd name="connsiteX18" fmla="*/ 364782 w 569760"/>
                <a:gd name="connsiteY18" fmla="*/ 7472 h 56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69760" h="561626">
                  <a:moveTo>
                    <a:pt x="364782" y="7472"/>
                  </a:moveTo>
                  <a:cubicBezTo>
                    <a:pt x="373945" y="-6997"/>
                    <a:pt x="396367" y="1166"/>
                    <a:pt x="394090" y="18140"/>
                  </a:cubicBezTo>
                  <a:cubicBezTo>
                    <a:pt x="384870" y="86920"/>
                    <a:pt x="450383" y="141888"/>
                    <a:pt x="516515" y="120867"/>
                  </a:cubicBezTo>
                  <a:cubicBezTo>
                    <a:pt x="532831" y="115676"/>
                    <a:pt x="544766" y="136336"/>
                    <a:pt x="532108" y="147880"/>
                  </a:cubicBezTo>
                  <a:cubicBezTo>
                    <a:pt x="480834" y="194638"/>
                    <a:pt x="495684" y="278858"/>
                    <a:pt x="559854" y="305261"/>
                  </a:cubicBezTo>
                  <a:cubicBezTo>
                    <a:pt x="575694" y="311776"/>
                    <a:pt x="571551" y="335275"/>
                    <a:pt x="554434" y="335979"/>
                  </a:cubicBezTo>
                  <a:cubicBezTo>
                    <a:pt x="485102" y="338837"/>
                    <a:pt x="442344" y="412903"/>
                    <a:pt x="474529" y="474378"/>
                  </a:cubicBezTo>
                  <a:cubicBezTo>
                    <a:pt x="482473" y="489551"/>
                    <a:pt x="464194" y="504886"/>
                    <a:pt x="450640" y="494428"/>
                  </a:cubicBezTo>
                  <a:cubicBezTo>
                    <a:pt x="395690" y="452051"/>
                    <a:pt x="315328" y="481302"/>
                    <a:pt x="300469" y="549082"/>
                  </a:cubicBezTo>
                  <a:cubicBezTo>
                    <a:pt x="296802" y="565808"/>
                    <a:pt x="272951" y="565808"/>
                    <a:pt x="269284" y="549082"/>
                  </a:cubicBezTo>
                  <a:cubicBezTo>
                    <a:pt x="254425" y="481302"/>
                    <a:pt x="174063" y="452051"/>
                    <a:pt x="119113" y="494428"/>
                  </a:cubicBezTo>
                  <a:cubicBezTo>
                    <a:pt x="105549" y="504886"/>
                    <a:pt x="87280" y="489551"/>
                    <a:pt x="95224" y="474378"/>
                  </a:cubicBezTo>
                  <a:cubicBezTo>
                    <a:pt x="127409" y="412903"/>
                    <a:pt x="84652" y="338837"/>
                    <a:pt x="15319" y="335979"/>
                  </a:cubicBezTo>
                  <a:cubicBezTo>
                    <a:pt x="-1788" y="335275"/>
                    <a:pt x="-5931" y="311776"/>
                    <a:pt x="9899" y="305261"/>
                  </a:cubicBezTo>
                  <a:cubicBezTo>
                    <a:pt x="74069" y="278858"/>
                    <a:pt x="88928" y="194638"/>
                    <a:pt x="37646" y="147880"/>
                  </a:cubicBezTo>
                  <a:cubicBezTo>
                    <a:pt x="24987" y="136336"/>
                    <a:pt x="36922" y="115685"/>
                    <a:pt x="53238" y="120867"/>
                  </a:cubicBezTo>
                  <a:cubicBezTo>
                    <a:pt x="119370" y="141888"/>
                    <a:pt x="184883" y="86920"/>
                    <a:pt x="175663" y="18140"/>
                  </a:cubicBezTo>
                  <a:cubicBezTo>
                    <a:pt x="173387" y="1166"/>
                    <a:pt x="195808" y="-6997"/>
                    <a:pt x="204971" y="7472"/>
                  </a:cubicBezTo>
                  <a:cubicBezTo>
                    <a:pt x="242119" y="66089"/>
                    <a:pt x="327634" y="66089"/>
                    <a:pt x="364782" y="7472"/>
                  </a:cubicBezTo>
                  <a:close/>
                </a:path>
              </a:pathLst>
            </a:custGeom>
            <a:solidFill>
              <a:srgbClr val="EEF5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 64">
              <a:extLst>
                <a:ext uri="{FF2B5EF4-FFF2-40B4-BE49-F238E27FC236}">
                  <a16:creationId xmlns:a16="http://schemas.microsoft.com/office/drawing/2014/main" id="{221FA41F-5D13-FAEC-6F72-D237E4177F4A}"/>
                </a:ext>
              </a:extLst>
            </p:cNvPr>
            <p:cNvSpPr/>
            <p:nvPr/>
          </p:nvSpPr>
          <p:spPr>
            <a:xfrm>
              <a:off x="6958985" y="1623512"/>
              <a:ext cx="660017" cy="861683"/>
            </a:xfrm>
            <a:custGeom>
              <a:avLst/>
              <a:gdLst>
                <a:gd name="connsiteX0" fmla="*/ 424614 w 660017"/>
                <a:gd name="connsiteY0" fmla="*/ 861684 h 861683"/>
                <a:gd name="connsiteX1" fmla="*/ 200443 w 660017"/>
                <a:gd name="connsiteY1" fmla="*/ 831976 h 861683"/>
                <a:gd name="connsiteX2" fmla="*/ 160238 w 660017"/>
                <a:gd name="connsiteY2" fmla="*/ 798238 h 861683"/>
                <a:gd name="connsiteX3" fmla="*/ 25783 w 660017"/>
                <a:gd name="connsiteY3" fmla="*/ 565352 h 861683"/>
                <a:gd name="connsiteX4" fmla="*/ 16667 w 660017"/>
                <a:gd name="connsiteY4" fmla="*/ 513669 h 861683"/>
                <a:gd name="connsiteX5" fmla="*/ 63369 w 660017"/>
                <a:gd name="connsiteY5" fmla="*/ 248836 h 861683"/>
                <a:gd name="connsiteX6" fmla="*/ 89610 w 660017"/>
                <a:gd name="connsiteY6" fmla="*/ 203383 h 861683"/>
                <a:gd name="connsiteX7" fmla="*/ 295617 w 660017"/>
                <a:gd name="connsiteY7" fmla="*/ 30523 h 861683"/>
                <a:gd name="connsiteX8" fmla="*/ 344937 w 660017"/>
                <a:gd name="connsiteY8" fmla="*/ 12568 h 861683"/>
                <a:gd name="connsiteX9" fmla="*/ 496623 w 660017"/>
                <a:gd name="connsiteY9" fmla="*/ 85597 h 861683"/>
                <a:gd name="connsiteX10" fmla="*/ 658624 w 660017"/>
                <a:gd name="connsiteY10" fmla="*/ 497058 h 861683"/>
                <a:gd name="connsiteX11" fmla="*/ 424614 w 660017"/>
                <a:gd name="connsiteY11" fmla="*/ 861684 h 861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60017" h="861683">
                  <a:moveTo>
                    <a:pt x="424614" y="861684"/>
                  </a:moveTo>
                  <a:cubicBezTo>
                    <a:pt x="372960" y="797467"/>
                    <a:pt x="272395" y="776492"/>
                    <a:pt x="200443" y="831976"/>
                  </a:cubicBezTo>
                  <a:cubicBezTo>
                    <a:pt x="177621" y="849578"/>
                    <a:pt x="146874" y="823775"/>
                    <a:pt x="160238" y="798238"/>
                  </a:cubicBezTo>
                  <a:cubicBezTo>
                    <a:pt x="214406" y="694787"/>
                    <a:pt x="142455" y="570162"/>
                    <a:pt x="25783" y="565352"/>
                  </a:cubicBezTo>
                  <a:cubicBezTo>
                    <a:pt x="-3011" y="564161"/>
                    <a:pt x="-9984" y="524632"/>
                    <a:pt x="16667" y="513669"/>
                  </a:cubicBezTo>
                  <a:cubicBezTo>
                    <a:pt x="124652" y="469235"/>
                    <a:pt x="149646" y="327522"/>
                    <a:pt x="63369" y="248836"/>
                  </a:cubicBezTo>
                  <a:cubicBezTo>
                    <a:pt x="42071" y="229414"/>
                    <a:pt x="62149" y="194658"/>
                    <a:pt x="89610" y="203383"/>
                  </a:cubicBezTo>
                  <a:cubicBezTo>
                    <a:pt x="200890" y="238759"/>
                    <a:pt x="311133" y="146261"/>
                    <a:pt x="295617" y="30523"/>
                  </a:cubicBezTo>
                  <a:cubicBezTo>
                    <a:pt x="291787" y="1958"/>
                    <a:pt x="329507" y="-11768"/>
                    <a:pt x="344937" y="12568"/>
                  </a:cubicBezTo>
                  <a:cubicBezTo>
                    <a:pt x="379675" y="67385"/>
                    <a:pt x="439539" y="91712"/>
                    <a:pt x="496623" y="85597"/>
                  </a:cubicBezTo>
                  <a:cubicBezTo>
                    <a:pt x="496623" y="85597"/>
                    <a:pt x="677598" y="204916"/>
                    <a:pt x="658624" y="497058"/>
                  </a:cubicBezTo>
                  <a:cubicBezTo>
                    <a:pt x="644803" y="709722"/>
                    <a:pt x="424614" y="861684"/>
                    <a:pt x="424614" y="861684"/>
                  </a:cubicBezTo>
                  <a:close/>
                </a:path>
              </a:pathLst>
            </a:custGeom>
            <a:solidFill>
              <a:srgbClr val="EEF5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 65">
              <a:extLst>
                <a:ext uri="{FF2B5EF4-FFF2-40B4-BE49-F238E27FC236}">
                  <a16:creationId xmlns:a16="http://schemas.microsoft.com/office/drawing/2014/main" id="{9D57B4A4-257F-83FF-3876-8D9289DCA6D1}"/>
                </a:ext>
              </a:extLst>
            </p:cNvPr>
            <p:cNvSpPr/>
            <p:nvPr/>
          </p:nvSpPr>
          <p:spPr>
            <a:xfrm>
              <a:off x="7383599" y="1623473"/>
              <a:ext cx="534095" cy="945095"/>
            </a:xfrm>
            <a:custGeom>
              <a:avLst/>
              <a:gdLst>
                <a:gd name="connsiteX0" fmla="*/ 534095 w 534095"/>
                <a:gd name="connsiteY0" fmla="*/ 538321 h 945095"/>
                <a:gd name="connsiteX1" fmla="*/ 508397 w 534095"/>
                <a:gd name="connsiteY1" fmla="*/ 565391 h 945095"/>
                <a:gd name="connsiteX2" fmla="*/ 355578 w 534095"/>
                <a:gd name="connsiteY2" fmla="*/ 724592 h 945095"/>
                <a:gd name="connsiteX3" fmla="*/ 373923 w 534095"/>
                <a:gd name="connsiteY3" fmla="*/ 798258 h 945095"/>
                <a:gd name="connsiteX4" fmla="*/ 377162 w 534095"/>
                <a:gd name="connsiteY4" fmla="*/ 810907 h 945095"/>
                <a:gd name="connsiteX5" fmla="*/ 333708 w 534095"/>
                <a:gd name="connsiteY5" fmla="*/ 831996 h 945095"/>
                <a:gd name="connsiteX6" fmla="*/ 236992 w 534095"/>
                <a:gd name="connsiteY6" fmla="*/ 798744 h 945095"/>
                <a:gd name="connsiteX7" fmla="*/ 81029 w 534095"/>
                <a:gd name="connsiteY7" fmla="*/ 924007 h 945095"/>
                <a:gd name="connsiteX8" fmla="*/ 54835 w 534095"/>
                <a:gd name="connsiteY8" fmla="*/ 945095 h 945095"/>
                <a:gd name="connsiteX9" fmla="*/ 28547 w 534095"/>
                <a:gd name="connsiteY9" fmla="*/ 924007 h 945095"/>
                <a:gd name="connsiteX10" fmla="*/ 0 w 534095"/>
                <a:gd name="connsiteY10" fmla="*/ 861723 h 945095"/>
                <a:gd name="connsiteX11" fmla="*/ 150076 w 534095"/>
                <a:gd name="connsiteY11" fmla="*/ 415906 h 945095"/>
                <a:gd name="connsiteX12" fmla="*/ 71999 w 534095"/>
                <a:gd name="connsiteY12" fmla="*/ 85636 h 945095"/>
                <a:gd name="connsiteX13" fmla="*/ 189214 w 534095"/>
                <a:gd name="connsiteY13" fmla="*/ 12560 h 945095"/>
                <a:gd name="connsiteX14" fmla="*/ 238554 w 534095"/>
                <a:gd name="connsiteY14" fmla="*/ 30505 h 945095"/>
                <a:gd name="connsiteX15" fmla="*/ 237077 w 534095"/>
                <a:gd name="connsiteY15" fmla="*/ 52279 h 945095"/>
                <a:gd name="connsiteX16" fmla="*/ 444532 w 534095"/>
                <a:gd name="connsiteY16" fmla="*/ 203431 h 945095"/>
                <a:gd name="connsiteX17" fmla="*/ 453161 w 534095"/>
                <a:gd name="connsiteY17" fmla="*/ 202060 h 945095"/>
                <a:gd name="connsiteX18" fmla="*/ 470821 w 534095"/>
                <a:gd name="connsiteY18" fmla="*/ 248847 h 945095"/>
                <a:gd name="connsiteX19" fmla="*/ 418833 w 534095"/>
                <a:gd name="connsiteY19" fmla="*/ 366061 h 945095"/>
                <a:gd name="connsiteX20" fmla="*/ 517512 w 534095"/>
                <a:gd name="connsiteY20" fmla="*/ 513689 h 945095"/>
                <a:gd name="connsiteX21" fmla="*/ 534095 w 534095"/>
                <a:gd name="connsiteY21" fmla="*/ 538321 h 945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34095" h="945095">
                  <a:moveTo>
                    <a:pt x="534095" y="538321"/>
                  </a:moveTo>
                  <a:cubicBezTo>
                    <a:pt x="534095" y="551561"/>
                    <a:pt x="524780" y="564705"/>
                    <a:pt x="508397" y="565391"/>
                  </a:cubicBezTo>
                  <a:cubicBezTo>
                    <a:pt x="418748" y="569115"/>
                    <a:pt x="355578" y="643467"/>
                    <a:pt x="355578" y="724592"/>
                  </a:cubicBezTo>
                  <a:cubicBezTo>
                    <a:pt x="355578" y="749119"/>
                    <a:pt x="361369" y="774227"/>
                    <a:pt x="373923" y="798258"/>
                  </a:cubicBezTo>
                  <a:cubicBezTo>
                    <a:pt x="376180" y="802573"/>
                    <a:pt x="377162" y="806888"/>
                    <a:pt x="377162" y="810907"/>
                  </a:cubicBezTo>
                  <a:cubicBezTo>
                    <a:pt x="377162" y="831215"/>
                    <a:pt x="352739" y="846712"/>
                    <a:pt x="333708" y="831996"/>
                  </a:cubicBezTo>
                  <a:cubicBezTo>
                    <a:pt x="304181" y="809240"/>
                    <a:pt x="270243" y="798744"/>
                    <a:pt x="236992" y="798744"/>
                  </a:cubicBezTo>
                  <a:cubicBezTo>
                    <a:pt x="166078" y="798744"/>
                    <a:pt x="98098" y="846321"/>
                    <a:pt x="81029" y="924007"/>
                  </a:cubicBezTo>
                  <a:cubicBezTo>
                    <a:pt x="77991" y="938037"/>
                    <a:pt x="66418" y="945095"/>
                    <a:pt x="54835" y="945095"/>
                  </a:cubicBezTo>
                  <a:cubicBezTo>
                    <a:pt x="43262" y="945095"/>
                    <a:pt x="31690" y="938028"/>
                    <a:pt x="28547" y="924007"/>
                  </a:cubicBezTo>
                  <a:cubicBezTo>
                    <a:pt x="23346" y="900271"/>
                    <a:pt x="13345" y="879278"/>
                    <a:pt x="0" y="861723"/>
                  </a:cubicBezTo>
                  <a:cubicBezTo>
                    <a:pt x="94164" y="738032"/>
                    <a:pt x="150076" y="583546"/>
                    <a:pt x="150076" y="415906"/>
                  </a:cubicBezTo>
                  <a:cubicBezTo>
                    <a:pt x="150076" y="297119"/>
                    <a:pt x="122025" y="185000"/>
                    <a:pt x="71999" y="85636"/>
                  </a:cubicBezTo>
                  <a:cubicBezTo>
                    <a:pt x="117615" y="80826"/>
                    <a:pt x="161458" y="56403"/>
                    <a:pt x="189214" y="12560"/>
                  </a:cubicBezTo>
                  <a:cubicBezTo>
                    <a:pt x="204616" y="-11767"/>
                    <a:pt x="242383" y="1968"/>
                    <a:pt x="238554" y="30505"/>
                  </a:cubicBezTo>
                  <a:cubicBezTo>
                    <a:pt x="237572" y="37858"/>
                    <a:pt x="237077" y="45116"/>
                    <a:pt x="237077" y="52279"/>
                  </a:cubicBezTo>
                  <a:cubicBezTo>
                    <a:pt x="237077" y="157530"/>
                    <a:pt x="340366" y="236493"/>
                    <a:pt x="444532" y="203431"/>
                  </a:cubicBezTo>
                  <a:cubicBezTo>
                    <a:pt x="447475" y="202450"/>
                    <a:pt x="450418" y="202060"/>
                    <a:pt x="453161" y="202060"/>
                  </a:cubicBezTo>
                  <a:cubicBezTo>
                    <a:pt x="475821" y="202060"/>
                    <a:pt x="489747" y="231482"/>
                    <a:pt x="470821" y="248847"/>
                  </a:cubicBezTo>
                  <a:cubicBezTo>
                    <a:pt x="435512" y="281022"/>
                    <a:pt x="418833" y="323789"/>
                    <a:pt x="418833" y="366061"/>
                  </a:cubicBezTo>
                  <a:cubicBezTo>
                    <a:pt x="418833" y="427174"/>
                    <a:pt x="453657" y="487400"/>
                    <a:pt x="517512" y="513689"/>
                  </a:cubicBezTo>
                  <a:cubicBezTo>
                    <a:pt x="528895" y="518414"/>
                    <a:pt x="534095" y="528320"/>
                    <a:pt x="534095" y="538321"/>
                  </a:cubicBezTo>
                  <a:close/>
                </a:path>
              </a:pathLst>
            </a:custGeom>
            <a:solidFill>
              <a:srgbClr val="DEECF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 66">
              <a:extLst>
                <a:ext uri="{FF2B5EF4-FFF2-40B4-BE49-F238E27FC236}">
                  <a16:creationId xmlns:a16="http://schemas.microsoft.com/office/drawing/2014/main" id="{59252991-A2FE-F3E4-19C2-43F15C718BF4}"/>
                </a:ext>
              </a:extLst>
            </p:cNvPr>
            <p:cNvSpPr/>
            <p:nvPr/>
          </p:nvSpPr>
          <p:spPr>
            <a:xfrm>
              <a:off x="4382804" y="4866277"/>
              <a:ext cx="278417" cy="204384"/>
            </a:xfrm>
            <a:custGeom>
              <a:avLst/>
              <a:gdLst>
                <a:gd name="connsiteX0" fmla="*/ 204798 w 278417"/>
                <a:gd name="connsiteY0" fmla="*/ 204384 h 204384"/>
                <a:gd name="connsiteX1" fmla="*/ 175442 w 278417"/>
                <a:gd name="connsiteY1" fmla="*/ 198231 h 204384"/>
                <a:gd name="connsiteX2" fmla="*/ 44197 w 278417"/>
                <a:gd name="connsiteY2" fmla="*/ 141024 h 204384"/>
                <a:gd name="connsiteX3" fmla="*/ 6144 w 278417"/>
                <a:gd name="connsiteY3" fmla="*/ 44193 h 204384"/>
                <a:gd name="connsiteX4" fmla="*/ 102976 w 278417"/>
                <a:gd name="connsiteY4" fmla="*/ 6150 h 204384"/>
                <a:gd name="connsiteX5" fmla="*/ 234221 w 278417"/>
                <a:gd name="connsiteY5" fmla="*/ 63357 h 204384"/>
                <a:gd name="connsiteX6" fmla="*/ 272273 w 278417"/>
                <a:gd name="connsiteY6" fmla="*/ 160189 h 204384"/>
                <a:gd name="connsiteX7" fmla="*/ 204798 w 278417"/>
                <a:gd name="connsiteY7" fmla="*/ 204384 h 20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8417" h="204384">
                  <a:moveTo>
                    <a:pt x="204798" y="204384"/>
                  </a:moveTo>
                  <a:cubicBezTo>
                    <a:pt x="194987" y="204384"/>
                    <a:pt x="185014" y="202413"/>
                    <a:pt x="175442" y="198231"/>
                  </a:cubicBezTo>
                  <a:lnTo>
                    <a:pt x="44197" y="141024"/>
                  </a:lnTo>
                  <a:cubicBezTo>
                    <a:pt x="6945" y="124794"/>
                    <a:pt x="-10086" y="81445"/>
                    <a:pt x="6144" y="44193"/>
                  </a:cubicBezTo>
                  <a:cubicBezTo>
                    <a:pt x="22385" y="6941"/>
                    <a:pt x="65742" y="-10090"/>
                    <a:pt x="102976" y="6150"/>
                  </a:cubicBezTo>
                  <a:lnTo>
                    <a:pt x="234221" y="63357"/>
                  </a:lnTo>
                  <a:cubicBezTo>
                    <a:pt x="271473" y="79588"/>
                    <a:pt x="288504" y="122936"/>
                    <a:pt x="272273" y="160189"/>
                  </a:cubicBezTo>
                  <a:cubicBezTo>
                    <a:pt x="260214" y="187868"/>
                    <a:pt x="233173" y="204384"/>
                    <a:pt x="204798" y="204384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 67">
              <a:extLst>
                <a:ext uri="{FF2B5EF4-FFF2-40B4-BE49-F238E27FC236}">
                  <a16:creationId xmlns:a16="http://schemas.microsoft.com/office/drawing/2014/main" id="{185223DB-2B09-FDF7-663E-0D9E39BFED77}"/>
                </a:ext>
              </a:extLst>
            </p:cNvPr>
            <p:cNvSpPr/>
            <p:nvPr/>
          </p:nvSpPr>
          <p:spPr>
            <a:xfrm>
              <a:off x="7128118" y="3929446"/>
              <a:ext cx="280436" cy="199516"/>
            </a:xfrm>
            <a:custGeom>
              <a:avLst/>
              <a:gdLst>
                <a:gd name="connsiteX0" fmla="*/ 73610 w 280436"/>
                <a:gd name="connsiteY0" fmla="*/ 199517 h 199516"/>
                <a:gd name="connsiteX1" fmla="*/ 5116 w 280436"/>
                <a:gd name="connsiteY1" fmla="*/ 152825 h 199516"/>
                <a:gd name="connsiteX2" fmla="*/ 46692 w 280436"/>
                <a:gd name="connsiteY2" fmla="*/ 57461 h 199516"/>
                <a:gd name="connsiteX3" fmla="*/ 179957 w 280436"/>
                <a:gd name="connsiteY3" fmla="*/ 5112 h 199516"/>
                <a:gd name="connsiteX4" fmla="*/ 275321 w 280436"/>
                <a:gd name="connsiteY4" fmla="*/ 46688 h 199516"/>
                <a:gd name="connsiteX5" fmla="*/ 233744 w 280436"/>
                <a:gd name="connsiteY5" fmla="*/ 142053 h 199516"/>
                <a:gd name="connsiteX6" fmla="*/ 100480 w 280436"/>
                <a:gd name="connsiteY6" fmla="*/ 194402 h 199516"/>
                <a:gd name="connsiteX7" fmla="*/ 73610 w 280436"/>
                <a:gd name="connsiteY7" fmla="*/ 199517 h 199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436" h="199516">
                  <a:moveTo>
                    <a:pt x="73610" y="199517"/>
                  </a:moveTo>
                  <a:cubicBezTo>
                    <a:pt x="44244" y="199517"/>
                    <a:pt x="16508" y="181819"/>
                    <a:pt x="5116" y="152825"/>
                  </a:cubicBezTo>
                  <a:cubicBezTo>
                    <a:pt x="-9743" y="115011"/>
                    <a:pt x="8868" y="72310"/>
                    <a:pt x="46692" y="57461"/>
                  </a:cubicBezTo>
                  <a:lnTo>
                    <a:pt x="179957" y="5112"/>
                  </a:lnTo>
                  <a:cubicBezTo>
                    <a:pt x="217771" y="-9738"/>
                    <a:pt x="260471" y="8865"/>
                    <a:pt x="275321" y="46688"/>
                  </a:cubicBezTo>
                  <a:cubicBezTo>
                    <a:pt x="290180" y="84502"/>
                    <a:pt x="271568" y="127203"/>
                    <a:pt x="233744" y="142053"/>
                  </a:cubicBezTo>
                  <a:lnTo>
                    <a:pt x="100480" y="194402"/>
                  </a:lnTo>
                  <a:cubicBezTo>
                    <a:pt x="91660" y="197869"/>
                    <a:pt x="82563" y="199517"/>
                    <a:pt x="73610" y="199517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 68">
              <a:extLst>
                <a:ext uri="{FF2B5EF4-FFF2-40B4-BE49-F238E27FC236}">
                  <a16:creationId xmlns:a16="http://schemas.microsoft.com/office/drawing/2014/main" id="{57E716A7-DDBC-81E3-C518-AAEE76FCB89D}"/>
                </a:ext>
              </a:extLst>
            </p:cNvPr>
            <p:cNvSpPr/>
            <p:nvPr/>
          </p:nvSpPr>
          <p:spPr>
            <a:xfrm>
              <a:off x="7975755" y="4741240"/>
              <a:ext cx="169739" cy="177145"/>
            </a:xfrm>
            <a:custGeom>
              <a:avLst/>
              <a:gdLst>
                <a:gd name="connsiteX0" fmla="*/ 135954 w 169739"/>
                <a:gd name="connsiteY0" fmla="*/ 158020 h 177145"/>
                <a:gd name="connsiteX1" fmla="*/ 100445 w 169739"/>
                <a:gd name="connsiteY1" fmla="*/ 171945 h 177145"/>
                <a:gd name="connsiteX2" fmla="*/ 73565 w 169739"/>
                <a:gd name="connsiteY2" fmla="*/ 177146 h 177145"/>
                <a:gd name="connsiteX3" fmla="*/ 5100 w 169739"/>
                <a:gd name="connsiteY3" fmla="*/ 130454 h 177145"/>
                <a:gd name="connsiteX4" fmla="*/ 46686 w 169739"/>
                <a:gd name="connsiteY4" fmla="*/ 35014 h 177145"/>
                <a:gd name="connsiteX5" fmla="*/ 135944 w 169739"/>
                <a:gd name="connsiteY5" fmla="*/ 0 h 177145"/>
                <a:gd name="connsiteX6" fmla="*/ 169739 w 169739"/>
                <a:gd name="connsiteY6" fmla="*/ 71609 h 17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739" h="177145">
                  <a:moveTo>
                    <a:pt x="135954" y="158020"/>
                  </a:moveTo>
                  <a:lnTo>
                    <a:pt x="100445" y="171945"/>
                  </a:lnTo>
                  <a:cubicBezTo>
                    <a:pt x="91615" y="175479"/>
                    <a:pt x="82595" y="177146"/>
                    <a:pt x="73565" y="177146"/>
                  </a:cubicBezTo>
                  <a:cubicBezTo>
                    <a:pt x="44238" y="177146"/>
                    <a:pt x="16482" y="159391"/>
                    <a:pt x="5100" y="130454"/>
                  </a:cubicBezTo>
                  <a:cubicBezTo>
                    <a:pt x="-9712" y="92593"/>
                    <a:pt x="8824" y="49921"/>
                    <a:pt x="46686" y="35014"/>
                  </a:cubicBezTo>
                  <a:lnTo>
                    <a:pt x="135944" y="0"/>
                  </a:lnTo>
                  <a:lnTo>
                    <a:pt x="169739" y="71609"/>
                  </a:ln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 69">
              <a:extLst>
                <a:ext uri="{FF2B5EF4-FFF2-40B4-BE49-F238E27FC236}">
                  <a16:creationId xmlns:a16="http://schemas.microsoft.com/office/drawing/2014/main" id="{8FF29F0C-476F-5918-3960-7B453C2B4C00}"/>
                </a:ext>
              </a:extLst>
            </p:cNvPr>
            <p:cNvSpPr/>
            <p:nvPr/>
          </p:nvSpPr>
          <p:spPr>
            <a:xfrm>
              <a:off x="8111718" y="4718851"/>
              <a:ext cx="144483" cy="180417"/>
            </a:xfrm>
            <a:custGeom>
              <a:avLst/>
              <a:gdLst>
                <a:gd name="connsiteX0" fmla="*/ 97793 w 144483"/>
                <a:gd name="connsiteY0" fmla="*/ 142061 h 180417"/>
                <a:gd name="connsiteX1" fmla="*/ 0 w 144483"/>
                <a:gd name="connsiteY1" fmla="*/ 180418 h 180417"/>
                <a:gd name="connsiteX2" fmla="*/ 0 w 144483"/>
                <a:gd name="connsiteY2" fmla="*/ 22398 h 180417"/>
                <a:gd name="connsiteX3" fmla="*/ 44044 w 144483"/>
                <a:gd name="connsiteY3" fmla="*/ 5139 h 180417"/>
                <a:gd name="connsiteX4" fmla="*/ 139389 w 144483"/>
                <a:gd name="connsiteY4" fmla="*/ 46725 h 180417"/>
                <a:gd name="connsiteX5" fmla="*/ 97793 w 144483"/>
                <a:gd name="connsiteY5" fmla="*/ 142061 h 180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4483" h="180417">
                  <a:moveTo>
                    <a:pt x="97793" y="142061"/>
                  </a:moveTo>
                  <a:lnTo>
                    <a:pt x="0" y="180418"/>
                  </a:lnTo>
                  <a:lnTo>
                    <a:pt x="0" y="22398"/>
                  </a:lnTo>
                  <a:lnTo>
                    <a:pt x="44044" y="5139"/>
                  </a:lnTo>
                  <a:cubicBezTo>
                    <a:pt x="81810" y="-9768"/>
                    <a:pt x="124473" y="8863"/>
                    <a:pt x="139389" y="46725"/>
                  </a:cubicBezTo>
                  <a:cubicBezTo>
                    <a:pt x="154191" y="84482"/>
                    <a:pt x="135655" y="127144"/>
                    <a:pt x="97793" y="142061"/>
                  </a:cubicBezTo>
                  <a:close/>
                </a:path>
              </a:pathLst>
            </a:custGeom>
            <a:solidFill>
              <a:srgbClr val="FD47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 70">
              <a:extLst>
                <a:ext uri="{FF2B5EF4-FFF2-40B4-BE49-F238E27FC236}">
                  <a16:creationId xmlns:a16="http://schemas.microsoft.com/office/drawing/2014/main" id="{786E7607-17E3-1CAC-045A-B5A885279372}"/>
                </a:ext>
              </a:extLst>
            </p:cNvPr>
            <p:cNvSpPr/>
            <p:nvPr/>
          </p:nvSpPr>
          <p:spPr>
            <a:xfrm>
              <a:off x="6241817" y="5223900"/>
              <a:ext cx="290275" cy="150418"/>
            </a:xfrm>
            <a:custGeom>
              <a:avLst/>
              <a:gdLst>
                <a:gd name="connsiteX0" fmla="*/ 216742 w 290275"/>
                <a:gd name="connsiteY0" fmla="*/ 150419 h 150418"/>
                <a:gd name="connsiteX1" fmla="*/ 215028 w 290275"/>
                <a:gd name="connsiteY1" fmla="*/ 150400 h 150418"/>
                <a:gd name="connsiteX2" fmla="*/ 71886 w 290275"/>
                <a:gd name="connsiteY2" fmla="*/ 147123 h 150418"/>
                <a:gd name="connsiteX3" fmla="*/ 20 w 290275"/>
                <a:gd name="connsiteY3" fmla="*/ 71885 h 150418"/>
                <a:gd name="connsiteX4" fmla="*/ 73534 w 290275"/>
                <a:gd name="connsiteY4" fmla="*/ 0 h 150418"/>
                <a:gd name="connsiteX5" fmla="*/ 75248 w 290275"/>
                <a:gd name="connsiteY5" fmla="*/ 19 h 150418"/>
                <a:gd name="connsiteX6" fmla="*/ 218390 w 290275"/>
                <a:gd name="connsiteY6" fmla="*/ 3295 h 150418"/>
                <a:gd name="connsiteX7" fmla="*/ 290256 w 290275"/>
                <a:gd name="connsiteY7" fmla="*/ 78534 h 150418"/>
                <a:gd name="connsiteX8" fmla="*/ 216742 w 290275"/>
                <a:gd name="connsiteY8" fmla="*/ 150419 h 1504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0275" h="150418">
                  <a:moveTo>
                    <a:pt x="216742" y="150419"/>
                  </a:moveTo>
                  <a:cubicBezTo>
                    <a:pt x="216171" y="150419"/>
                    <a:pt x="215599" y="150409"/>
                    <a:pt x="215028" y="150400"/>
                  </a:cubicBezTo>
                  <a:lnTo>
                    <a:pt x="71886" y="147123"/>
                  </a:lnTo>
                  <a:cubicBezTo>
                    <a:pt x="31262" y="146190"/>
                    <a:pt x="-914" y="112519"/>
                    <a:pt x="20" y="71885"/>
                  </a:cubicBezTo>
                  <a:cubicBezTo>
                    <a:pt x="934" y="31842"/>
                    <a:pt x="33691" y="0"/>
                    <a:pt x="73534" y="0"/>
                  </a:cubicBezTo>
                  <a:cubicBezTo>
                    <a:pt x="74105" y="0"/>
                    <a:pt x="74677" y="9"/>
                    <a:pt x="75248" y="19"/>
                  </a:cubicBezTo>
                  <a:lnTo>
                    <a:pt x="218390" y="3295"/>
                  </a:lnTo>
                  <a:cubicBezTo>
                    <a:pt x="259014" y="4229"/>
                    <a:pt x="291190" y="37900"/>
                    <a:pt x="290256" y="78534"/>
                  </a:cubicBezTo>
                  <a:cubicBezTo>
                    <a:pt x="289332" y="118586"/>
                    <a:pt x="256585" y="150419"/>
                    <a:pt x="216742" y="150419"/>
                  </a:cubicBezTo>
                  <a:close/>
                </a:path>
              </a:pathLst>
            </a:custGeom>
            <a:solidFill>
              <a:srgbClr val="FD808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 71">
              <a:extLst>
                <a:ext uri="{FF2B5EF4-FFF2-40B4-BE49-F238E27FC236}">
                  <a16:creationId xmlns:a16="http://schemas.microsoft.com/office/drawing/2014/main" id="{D345638E-2148-9759-948B-339E33BC3098}"/>
                </a:ext>
              </a:extLst>
            </p:cNvPr>
            <p:cNvSpPr/>
            <p:nvPr/>
          </p:nvSpPr>
          <p:spPr>
            <a:xfrm>
              <a:off x="6144434" y="4545587"/>
              <a:ext cx="147142" cy="147142"/>
            </a:xfrm>
            <a:custGeom>
              <a:avLst/>
              <a:gdLst>
                <a:gd name="connsiteX0" fmla="*/ 147142 w 147142"/>
                <a:gd name="connsiteY0" fmla="*/ 73571 h 147142"/>
                <a:gd name="connsiteX1" fmla="*/ 73571 w 147142"/>
                <a:gd name="connsiteY1" fmla="*/ 147142 h 147142"/>
                <a:gd name="connsiteX2" fmla="*/ 0 w 147142"/>
                <a:gd name="connsiteY2" fmla="*/ 73571 h 147142"/>
                <a:gd name="connsiteX3" fmla="*/ 73571 w 147142"/>
                <a:gd name="connsiteY3" fmla="*/ 0 h 147142"/>
                <a:gd name="connsiteX4" fmla="*/ 147142 w 147142"/>
                <a:gd name="connsiteY4" fmla="*/ 73571 h 147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7142" h="147142">
                  <a:moveTo>
                    <a:pt x="147142" y="73571"/>
                  </a:moveTo>
                  <a:cubicBezTo>
                    <a:pt x="147142" y="114203"/>
                    <a:pt x="114203" y="147142"/>
                    <a:pt x="73571" y="147142"/>
                  </a:cubicBezTo>
                  <a:cubicBezTo>
                    <a:pt x="32939" y="147142"/>
                    <a:pt x="0" y="114203"/>
                    <a:pt x="0" y="73571"/>
                  </a:cubicBezTo>
                  <a:cubicBezTo>
                    <a:pt x="0" y="32939"/>
                    <a:pt x="32939" y="0"/>
                    <a:pt x="73571" y="0"/>
                  </a:cubicBezTo>
                  <a:cubicBezTo>
                    <a:pt x="114203" y="0"/>
                    <a:pt x="147142" y="32939"/>
                    <a:pt x="147142" y="73571"/>
                  </a:cubicBezTo>
                  <a:close/>
                </a:path>
              </a:pathLst>
            </a:custGeom>
            <a:solidFill>
              <a:srgbClr val="FD475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02985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D1DFAF-769C-1A94-04CB-EE390AE0D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10515600" cy="633213"/>
          </a:xfrm>
        </p:spPr>
        <p:txBody>
          <a:bodyPr/>
          <a:lstStyle/>
          <a:p>
            <a:r>
              <a:rPr lang="en-US" sz="2000" dirty="0"/>
              <a:t>Cardiac-specific AAV variants for gene therapy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7B8E550-1B3E-35C5-F4F0-7BEC69BDE4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9" y="1365383"/>
            <a:ext cx="5963776" cy="633213"/>
          </a:xfrm>
        </p:spPr>
        <p:txBody>
          <a:bodyPr/>
          <a:lstStyle/>
          <a:p>
            <a:r>
              <a:rPr lang="de-DE" sz="1800" dirty="0"/>
              <a:t>Pipeline: a </a:t>
            </a:r>
            <a:r>
              <a:rPr lang="de-DE" sz="1800" dirty="0" err="1"/>
              <a:t>cross-species</a:t>
            </a:r>
            <a:r>
              <a:rPr lang="de-DE" sz="1800" dirty="0"/>
              <a:t> </a:t>
            </a:r>
            <a:r>
              <a:rPr lang="de-DE" sz="1800" dirty="0" err="1"/>
              <a:t>vector</a:t>
            </a:r>
            <a:r>
              <a:rPr lang="de-DE" sz="1800" dirty="0"/>
              <a:t> </a:t>
            </a:r>
            <a:r>
              <a:rPr lang="de-DE" sz="1800" dirty="0" err="1"/>
              <a:t>engineering</a:t>
            </a:r>
            <a:r>
              <a:rPr lang="de-DE" sz="1800" dirty="0"/>
              <a:t> </a:t>
            </a:r>
            <a:r>
              <a:rPr lang="de-DE" sz="1800" dirty="0" err="1"/>
              <a:t>platform</a:t>
            </a:r>
            <a:r>
              <a:rPr lang="de-DE" sz="1800" dirty="0"/>
              <a:t> </a:t>
            </a:r>
            <a:r>
              <a:rPr lang="de-DE" sz="1800" dirty="0" err="1"/>
              <a:t>for</a:t>
            </a:r>
            <a:r>
              <a:rPr lang="de-DE" sz="1800" dirty="0"/>
              <a:t> </a:t>
            </a:r>
            <a:r>
              <a:rPr lang="de-DE" sz="1800" dirty="0" err="1"/>
              <a:t>novel</a:t>
            </a:r>
            <a:r>
              <a:rPr lang="de-DE" sz="1800" dirty="0"/>
              <a:t> </a:t>
            </a:r>
            <a:r>
              <a:rPr lang="de-DE" sz="1800" dirty="0" err="1"/>
              <a:t>heart-directed</a:t>
            </a:r>
            <a:r>
              <a:rPr lang="de-DE" sz="1800" dirty="0"/>
              <a:t> AAVs / </a:t>
            </a:r>
            <a:r>
              <a:rPr lang="de-DE" sz="1800" dirty="0" err="1"/>
              <a:t>interim</a:t>
            </a:r>
            <a:r>
              <a:rPr lang="de-DE" sz="1800" dirty="0"/>
              <a:t> </a:t>
            </a:r>
            <a:r>
              <a:rPr lang="de-DE" sz="1800" dirty="0" err="1"/>
              <a:t>example</a:t>
            </a:r>
            <a:r>
              <a:rPr lang="de-DE" sz="1800" dirty="0"/>
              <a:t> HDV-C1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86FF302-0F19-F048-0C52-0A0A4BB9AB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09013" y="6356350"/>
            <a:ext cx="2743200" cy="365125"/>
          </a:xfrm>
        </p:spPr>
        <p:txBody>
          <a:bodyPr/>
          <a:lstStyle/>
          <a:p>
            <a:r>
              <a:rPr lang="de-DE"/>
              <a:t>Hamburg 11.12.2023</a:t>
            </a:r>
            <a:endParaRPr lang="de-BJ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19DD7A7-1873-0AA8-22DE-4C06FB86A5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356350"/>
            <a:ext cx="542925" cy="365125"/>
          </a:xfrm>
        </p:spPr>
        <p:txBody>
          <a:bodyPr/>
          <a:lstStyle/>
          <a:p>
            <a:fld id="{92AD02AA-849D-9B40-AF4B-26A62FAAF64D}" type="slidenum">
              <a:rPr lang="de-BJ" smtClean="0"/>
              <a:t>5</a:t>
            </a:fld>
            <a:endParaRPr lang="de-BJ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7592A3D-0357-5409-1FC7-527DFE6934C6}"/>
              </a:ext>
            </a:extLst>
          </p:cNvPr>
          <p:cNvSpPr txBox="1"/>
          <p:nvPr/>
        </p:nvSpPr>
        <p:spPr>
          <a:xfrm>
            <a:off x="7314108" y="800274"/>
            <a:ext cx="1953961" cy="389513"/>
          </a:xfrm>
          <a:prstGeom prst="roundRect">
            <a:avLst>
              <a:gd name="adj" fmla="val 50000"/>
            </a:avLst>
          </a:prstGeom>
          <a:solidFill>
            <a:srgbClr val="CC0000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r>
              <a:rPr lang="de-DE" sz="1200" b="1" dirty="0">
                <a:solidFill>
                  <a:schemeClr val="bg1"/>
                </a:solidFill>
                <a:ea typeface="ＭＳ Ｐゴシック" charset="0"/>
              </a:rPr>
              <a:t>Innovation Cluster IC2</a:t>
            </a: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982D0949-8DB4-D864-2D43-6AAB8D742686}"/>
              </a:ext>
            </a:extLst>
          </p:cNvPr>
          <p:cNvSpPr/>
          <p:nvPr/>
        </p:nvSpPr>
        <p:spPr>
          <a:xfrm>
            <a:off x="407988" y="2041254"/>
            <a:ext cx="5963776" cy="4223872"/>
          </a:xfrm>
          <a:prstGeom prst="roundRect">
            <a:avLst>
              <a:gd name="adj" fmla="val 11045"/>
            </a:avLst>
          </a:prstGeom>
          <a:noFill/>
          <a:ln>
            <a:solidFill>
              <a:srgbClr val="FFA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00672D54-38CB-B19D-048B-BE893BB2D53B}"/>
              </a:ext>
            </a:extLst>
          </p:cNvPr>
          <p:cNvSpPr/>
          <p:nvPr/>
        </p:nvSpPr>
        <p:spPr>
          <a:xfrm>
            <a:off x="6371764" y="2041253"/>
            <a:ext cx="5256158" cy="4223872"/>
          </a:xfrm>
          <a:prstGeom prst="roundRect">
            <a:avLst>
              <a:gd name="adj" fmla="val 11045"/>
            </a:avLst>
          </a:prstGeom>
          <a:noFill/>
          <a:ln>
            <a:solidFill>
              <a:srgbClr val="FFA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pic>
        <p:nvPicPr>
          <p:cNvPr id="10" name="Grafik 9" descr="Ein Bild, das Text, Screenshot enthält.&#10;&#10;Automatisch generierte Beschreibung">
            <a:extLst>
              <a:ext uri="{FF2B5EF4-FFF2-40B4-BE49-F238E27FC236}">
                <a16:creationId xmlns:a16="http://schemas.microsoft.com/office/drawing/2014/main" id="{ECEE688D-8266-AD2B-0F00-5A240C372D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3117" y="2712011"/>
            <a:ext cx="4611029" cy="3317989"/>
          </a:xfrm>
          <a:prstGeom prst="rect">
            <a:avLst/>
          </a:prstGeom>
        </p:spPr>
      </p:pic>
      <p:pic>
        <p:nvPicPr>
          <p:cNvPr id="12" name="Grafik 11" descr="Ein Bild, das Diagramm, Screenshot, Design, Kunst enthält.&#10;&#10;Automatisch generierte Beschreibung">
            <a:extLst>
              <a:ext uri="{FF2B5EF4-FFF2-40B4-BE49-F238E27FC236}">
                <a16:creationId xmlns:a16="http://schemas.microsoft.com/office/drawing/2014/main" id="{6A2C5E00-E406-662D-AC7D-78E7F7A57E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4" t="51619" r="49330" b="23089"/>
          <a:stretch/>
        </p:blipFill>
        <p:spPr>
          <a:xfrm>
            <a:off x="8609013" y="4089000"/>
            <a:ext cx="2676676" cy="1904537"/>
          </a:xfrm>
          <a:prstGeom prst="rect">
            <a:avLst/>
          </a:prstGeom>
        </p:spPr>
      </p:pic>
      <p:pic>
        <p:nvPicPr>
          <p:cNvPr id="13" name="Grafik 12" descr="Ein Bild, das Diagramm, Screenshot, Design, Kunst enthält.&#10;&#10;Automatisch generierte Beschreibung">
            <a:extLst>
              <a:ext uri="{FF2B5EF4-FFF2-40B4-BE49-F238E27FC236}">
                <a16:creationId xmlns:a16="http://schemas.microsoft.com/office/drawing/2014/main" id="{73DCBD93-7F9A-C593-4DAB-ADE1CF28F9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669" t="51619" r="1" b="23089"/>
          <a:stretch/>
        </p:blipFill>
        <p:spPr>
          <a:xfrm>
            <a:off x="8518309" y="2163134"/>
            <a:ext cx="2620574" cy="1904537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F7C68EAD-0A49-4A43-F672-D1F042CD1394}"/>
              </a:ext>
            </a:extLst>
          </p:cNvPr>
          <p:cNvSpPr txBox="1"/>
          <p:nvPr/>
        </p:nvSpPr>
        <p:spPr>
          <a:xfrm>
            <a:off x="6638085" y="2653357"/>
            <a:ext cx="13931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XYZ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 Image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description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20A4FE2-8356-DB4D-C207-D1F35B9C2BF4}"/>
              </a:ext>
            </a:extLst>
          </p:cNvPr>
          <p:cNvSpPr txBox="1"/>
          <p:nvPr/>
        </p:nvSpPr>
        <p:spPr>
          <a:xfrm>
            <a:off x="6638085" y="2093238"/>
            <a:ext cx="1245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Header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3FAEF92-FDD6-CCB4-5911-3C762CAFA94B}"/>
              </a:ext>
            </a:extLst>
          </p:cNvPr>
          <p:cNvSpPr txBox="1"/>
          <p:nvPr/>
        </p:nvSpPr>
        <p:spPr>
          <a:xfrm>
            <a:off x="6638085" y="4397139"/>
            <a:ext cx="13931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XYZ</a:t>
            </a:r>
            <a:r>
              <a:rPr kumimoji="0" 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 Image </a:t>
            </a:r>
            <a:r>
              <a:rPr kumimoji="0" 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description</a:t>
            </a: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48638AA-FF5A-94D2-7AC9-E71D91FFA638}"/>
              </a:ext>
            </a:extLst>
          </p:cNvPr>
          <p:cNvSpPr txBox="1"/>
          <p:nvPr/>
        </p:nvSpPr>
        <p:spPr>
          <a:xfrm>
            <a:off x="564078" y="2093238"/>
            <a:ext cx="1245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1" i="0" u="none" strike="noStrike" kern="0" cap="none" spc="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</a:rPr>
              <a:t>Header</a:t>
            </a:r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0C13981-FE95-66FC-D79B-31091DDC08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1083152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7C67AF-4104-A107-D2B2-989BA3EEB8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828000"/>
            <a:ext cx="10515600" cy="535993"/>
          </a:xfrm>
        </p:spPr>
        <p:txBody>
          <a:bodyPr/>
          <a:lstStyle/>
          <a:p>
            <a:r>
              <a:rPr lang="de-DE" dirty="0"/>
              <a:t>Headli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0DF2EFC-8411-3C3B-2483-16E5A252EF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609013" y="6356350"/>
            <a:ext cx="2743200" cy="365125"/>
          </a:xfrm>
        </p:spPr>
        <p:txBody>
          <a:bodyPr/>
          <a:lstStyle/>
          <a:p>
            <a:r>
              <a:rPr lang="de-DE"/>
              <a:t>Hamburg 11.12.2023</a:t>
            </a:r>
            <a:endParaRPr lang="de-BJ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7A1F361-C949-B239-D631-0C1559300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799" y="6356350"/>
            <a:ext cx="542925" cy="365125"/>
          </a:xfrm>
        </p:spPr>
        <p:txBody>
          <a:bodyPr/>
          <a:lstStyle/>
          <a:p>
            <a:fld id="{92AD02AA-849D-9B40-AF4B-26A62FAAF64D}" type="slidenum">
              <a:rPr lang="de-BJ" smtClean="0"/>
              <a:t>6</a:t>
            </a:fld>
            <a:endParaRPr lang="de-BJ"/>
          </a:p>
        </p:txBody>
      </p:sp>
      <p:sp>
        <p:nvSpPr>
          <p:cNvPr id="6" name="Abgerundetes Rechteck 5">
            <a:extLst>
              <a:ext uri="{FF2B5EF4-FFF2-40B4-BE49-F238E27FC236}">
                <a16:creationId xmlns:a16="http://schemas.microsoft.com/office/drawing/2014/main" id="{FC9522FB-C769-50D0-1920-1D646D68882A}"/>
              </a:ext>
            </a:extLst>
          </p:cNvPr>
          <p:cNvSpPr/>
          <p:nvPr/>
        </p:nvSpPr>
        <p:spPr>
          <a:xfrm>
            <a:off x="6112933" y="1363995"/>
            <a:ext cx="5698488" cy="4716759"/>
          </a:xfrm>
          <a:prstGeom prst="roundRect">
            <a:avLst>
              <a:gd name="adj" fmla="val 8449"/>
            </a:avLst>
          </a:prstGeom>
          <a:solidFill>
            <a:srgbClr val="FF0000">
              <a:alpha val="2976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>
              <a:solidFill>
                <a:srgbClr val="E63324"/>
              </a:solidFill>
            </a:endParaRPr>
          </a:p>
        </p:txBody>
      </p:sp>
      <p:sp>
        <p:nvSpPr>
          <p:cNvPr id="7" name="Abgerundetes Rechteck 6">
            <a:extLst>
              <a:ext uri="{FF2B5EF4-FFF2-40B4-BE49-F238E27FC236}">
                <a16:creationId xmlns:a16="http://schemas.microsoft.com/office/drawing/2014/main" id="{7797C946-E2C0-365B-FAAE-D611D57FCC17}"/>
              </a:ext>
            </a:extLst>
          </p:cNvPr>
          <p:cNvSpPr/>
          <p:nvPr/>
        </p:nvSpPr>
        <p:spPr>
          <a:xfrm>
            <a:off x="506027" y="1363994"/>
            <a:ext cx="5609881" cy="4716759"/>
          </a:xfrm>
          <a:prstGeom prst="roundRect">
            <a:avLst>
              <a:gd name="adj" fmla="val 8974"/>
            </a:avLst>
          </a:prstGeom>
          <a:solidFill>
            <a:srgbClr val="FFA050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>
              <a:solidFill>
                <a:srgbClr val="E63324"/>
              </a:solidFill>
            </a:endParaRPr>
          </a:p>
        </p:txBody>
      </p:sp>
      <p:sp>
        <p:nvSpPr>
          <p:cNvPr id="8" name="Abgerundetes Rechteck 7">
            <a:extLst>
              <a:ext uri="{FF2B5EF4-FFF2-40B4-BE49-F238E27FC236}">
                <a16:creationId xmlns:a16="http://schemas.microsoft.com/office/drawing/2014/main" id="{BE9094E8-A977-1CE1-C5DA-F986B7BBFCC9}"/>
              </a:ext>
            </a:extLst>
          </p:cNvPr>
          <p:cNvSpPr/>
          <p:nvPr/>
        </p:nvSpPr>
        <p:spPr>
          <a:xfrm>
            <a:off x="4709491" y="5548400"/>
            <a:ext cx="2773018" cy="679063"/>
          </a:xfrm>
          <a:prstGeom prst="roundRect">
            <a:avLst>
              <a:gd name="adj" fmla="val 43517"/>
            </a:avLst>
          </a:prstGeom>
          <a:solidFill>
            <a:srgbClr val="C33B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9" name="Abgerundetes Rechteck 8">
            <a:extLst>
              <a:ext uri="{FF2B5EF4-FFF2-40B4-BE49-F238E27FC236}">
                <a16:creationId xmlns:a16="http://schemas.microsoft.com/office/drawing/2014/main" id="{69C1EB4B-D4B7-0D69-0FA9-A9A4D4D41E07}"/>
              </a:ext>
            </a:extLst>
          </p:cNvPr>
          <p:cNvSpPr/>
          <p:nvPr/>
        </p:nvSpPr>
        <p:spPr>
          <a:xfrm>
            <a:off x="9303262" y="4697423"/>
            <a:ext cx="2336766" cy="826927"/>
          </a:xfrm>
          <a:prstGeom prst="roundRect">
            <a:avLst/>
          </a:prstGeom>
          <a:solidFill>
            <a:srgbClr val="C33B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0" name="Abgerundetes Rechteck 9">
            <a:extLst>
              <a:ext uri="{FF2B5EF4-FFF2-40B4-BE49-F238E27FC236}">
                <a16:creationId xmlns:a16="http://schemas.microsoft.com/office/drawing/2014/main" id="{75E02F3C-8323-E048-FFD8-FEC46218F63D}"/>
              </a:ext>
            </a:extLst>
          </p:cNvPr>
          <p:cNvSpPr/>
          <p:nvPr/>
        </p:nvSpPr>
        <p:spPr>
          <a:xfrm>
            <a:off x="9321713" y="2155903"/>
            <a:ext cx="2318314" cy="1502677"/>
          </a:xfrm>
          <a:prstGeom prst="roundRect">
            <a:avLst/>
          </a:prstGeom>
          <a:solidFill>
            <a:srgbClr val="5A84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1" name="Abgerundetes Rechteck 10">
            <a:extLst>
              <a:ext uri="{FF2B5EF4-FFF2-40B4-BE49-F238E27FC236}">
                <a16:creationId xmlns:a16="http://schemas.microsoft.com/office/drawing/2014/main" id="{584D76DF-30E9-1607-D4E1-C2BCA59F637A}"/>
              </a:ext>
            </a:extLst>
          </p:cNvPr>
          <p:cNvSpPr/>
          <p:nvPr/>
        </p:nvSpPr>
        <p:spPr>
          <a:xfrm>
            <a:off x="9321712" y="3715209"/>
            <a:ext cx="2318315" cy="930259"/>
          </a:xfrm>
          <a:prstGeom prst="roundRect">
            <a:avLst/>
          </a:prstGeom>
          <a:solidFill>
            <a:srgbClr val="C33B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2" name="Abgerundetes Rechteck 11">
            <a:extLst>
              <a:ext uri="{FF2B5EF4-FFF2-40B4-BE49-F238E27FC236}">
                <a16:creationId xmlns:a16="http://schemas.microsoft.com/office/drawing/2014/main" id="{68759F2A-E16D-DCAB-C85A-9F4A6631D962}"/>
              </a:ext>
            </a:extLst>
          </p:cNvPr>
          <p:cNvSpPr/>
          <p:nvPr/>
        </p:nvSpPr>
        <p:spPr>
          <a:xfrm>
            <a:off x="657280" y="2155903"/>
            <a:ext cx="2153745" cy="1273097"/>
          </a:xfrm>
          <a:prstGeom prst="roundRect">
            <a:avLst/>
          </a:prstGeom>
          <a:solidFill>
            <a:srgbClr val="5A84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3" name="Abgerundetes Rechteck 12">
            <a:extLst>
              <a:ext uri="{FF2B5EF4-FFF2-40B4-BE49-F238E27FC236}">
                <a16:creationId xmlns:a16="http://schemas.microsoft.com/office/drawing/2014/main" id="{77E41954-6FE7-0207-E7A9-D0894B2FB8E1}"/>
              </a:ext>
            </a:extLst>
          </p:cNvPr>
          <p:cNvSpPr/>
          <p:nvPr/>
        </p:nvSpPr>
        <p:spPr>
          <a:xfrm>
            <a:off x="657280" y="3540895"/>
            <a:ext cx="2153745" cy="1360025"/>
          </a:xfrm>
          <a:prstGeom prst="roundRect">
            <a:avLst/>
          </a:prstGeom>
          <a:solidFill>
            <a:srgbClr val="C33B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E4A03504-979C-F946-52CB-95E5D1B0D348}"/>
              </a:ext>
            </a:extLst>
          </p:cNvPr>
          <p:cNvSpPr txBox="1"/>
          <p:nvPr/>
        </p:nvSpPr>
        <p:spPr>
          <a:xfrm>
            <a:off x="747219" y="2343088"/>
            <a:ext cx="1855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2233F"/>
              </a:buClr>
            </a:pPr>
            <a:r>
              <a:rPr lang="en-US" sz="1800" kern="0" dirty="0">
                <a:solidFill>
                  <a:schemeClr val="bg1"/>
                </a:solidFill>
              </a:rPr>
              <a:t>Prevention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5E6CFD6-B3CF-6DFD-CEE4-5987050E862D}"/>
              </a:ext>
            </a:extLst>
          </p:cNvPr>
          <p:cNvSpPr txBox="1"/>
          <p:nvPr/>
        </p:nvSpPr>
        <p:spPr>
          <a:xfrm>
            <a:off x="747219" y="3647869"/>
            <a:ext cx="25196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B2233F"/>
              </a:buClr>
            </a:pPr>
            <a:r>
              <a:rPr lang="en-US" sz="1800" kern="0" dirty="0">
                <a:solidFill>
                  <a:schemeClr val="bg1"/>
                </a:solidFill>
              </a:rPr>
              <a:t>Diagnostics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16" name="Abgerundetes Rechteck 15">
            <a:extLst>
              <a:ext uri="{FF2B5EF4-FFF2-40B4-BE49-F238E27FC236}">
                <a16:creationId xmlns:a16="http://schemas.microsoft.com/office/drawing/2014/main" id="{9D9CF890-233E-0DBD-E957-AACB12A0BB91}"/>
              </a:ext>
            </a:extLst>
          </p:cNvPr>
          <p:cNvSpPr/>
          <p:nvPr/>
        </p:nvSpPr>
        <p:spPr>
          <a:xfrm>
            <a:off x="2932546" y="2155903"/>
            <a:ext cx="3008029" cy="2363545"/>
          </a:xfrm>
          <a:prstGeom prst="roundRect">
            <a:avLst/>
          </a:prstGeom>
          <a:solidFill>
            <a:srgbClr val="5A84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50EE242-1C63-1F53-763E-66247C49A99B}"/>
              </a:ext>
            </a:extLst>
          </p:cNvPr>
          <p:cNvSpPr txBox="1"/>
          <p:nvPr/>
        </p:nvSpPr>
        <p:spPr>
          <a:xfrm>
            <a:off x="3111456" y="2332578"/>
            <a:ext cx="2664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2233F"/>
              </a:buClr>
            </a:pPr>
            <a:r>
              <a:rPr lang="en-US" sz="2400" kern="0" dirty="0">
                <a:solidFill>
                  <a:schemeClr val="bg1"/>
                </a:solidFill>
              </a:rPr>
              <a:t>Therapy</a:t>
            </a:r>
            <a:endParaRPr lang="de-DE" sz="2400" kern="0" dirty="0">
              <a:solidFill>
                <a:schemeClr val="bg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3B1DD716-74BF-CBA0-8D50-B9F1165A7E0B}"/>
              </a:ext>
            </a:extLst>
          </p:cNvPr>
          <p:cNvSpPr txBox="1"/>
          <p:nvPr/>
        </p:nvSpPr>
        <p:spPr>
          <a:xfrm>
            <a:off x="9411652" y="3769907"/>
            <a:ext cx="195808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B2233F"/>
              </a:buClr>
            </a:pPr>
            <a:r>
              <a:rPr lang="de-DE" sz="1800" kern="0" dirty="0" err="1">
                <a:solidFill>
                  <a:schemeClr val="bg1"/>
                </a:solidFill>
              </a:rPr>
              <a:t>Epidemiology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88876EB-513B-A11A-F6FB-48B654F87824}"/>
              </a:ext>
            </a:extLst>
          </p:cNvPr>
          <p:cNvSpPr txBox="1"/>
          <p:nvPr/>
        </p:nvSpPr>
        <p:spPr>
          <a:xfrm>
            <a:off x="9411652" y="2327930"/>
            <a:ext cx="26646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2233F"/>
              </a:buClr>
            </a:pPr>
            <a:r>
              <a:rPr lang="de-DE" sz="1800" kern="0" dirty="0" err="1">
                <a:solidFill>
                  <a:schemeClr val="bg1"/>
                </a:solidFill>
              </a:rPr>
              <a:t>Genetics</a:t>
            </a:r>
            <a:r>
              <a:rPr lang="de-DE" sz="1800" kern="0" dirty="0">
                <a:solidFill>
                  <a:schemeClr val="bg1"/>
                </a:solidFill>
              </a:rPr>
              <a:t> and </a:t>
            </a:r>
            <a:br>
              <a:rPr lang="de-DE" sz="1800" kern="0" dirty="0">
                <a:solidFill>
                  <a:schemeClr val="bg1"/>
                </a:solidFill>
              </a:rPr>
            </a:br>
            <a:r>
              <a:rPr lang="de-DE" sz="1800" kern="0" dirty="0">
                <a:solidFill>
                  <a:schemeClr val="bg1"/>
                </a:solidFill>
              </a:rPr>
              <a:t>Gene </a:t>
            </a:r>
            <a:r>
              <a:rPr lang="de-DE" sz="1800" kern="0" dirty="0" err="1">
                <a:solidFill>
                  <a:schemeClr val="bg1"/>
                </a:solidFill>
              </a:rPr>
              <a:t>therapy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2C8DC4F7-EB15-0B61-F690-11C863B6188B}"/>
              </a:ext>
            </a:extLst>
          </p:cNvPr>
          <p:cNvSpPr txBox="1"/>
          <p:nvPr/>
        </p:nvSpPr>
        <p:spPr>
          <a:xfrm>
            <a:off x="5649922" y="5679215"/>
            <a:ext cx="19475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kern="0" dirty="0">
                <a:solidFill>
                  <a:schemeClr val="bg1"/>
                </a:solidFill>
              </a:rPr>
              <a:t>others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D56F93D8-ABAD-8D5A-FF23-54D66A4A36B0}"/>
              </a:ext>
            </a:extLst>
          </p:cNvPr>
          <p:cNvSpPr txBox="1"/>
          <p:nvPr/>
        </p:nvSpPr>
        <p:spPr>
          <a:xfrm>
            <a:off x="9411652" y="4755771"/>
            <a:ext cx="222385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B2233F"/>
              </a:buClr>
            </a:pPr>
            <a:r>
              <a:rPr lang="de-DE" sz="1800" kern="0" dirty="0">
                <a:solidFill>
                  <a:schemeClr val="bg1"/>
                </a:solidFill>
              </a:rPr>
              <a:t>Disease </a:t>
            </a:r>
          </a:p>
          <a:p>
            <a:pPr>
              <a:buClr>
                <a:srgbClr val="B2233F"/>
              </a:buClr>
            </a:pPr>
            <a:r>
              <a:rPr lang="de-DE" sz="1800" kern="0" dirty="0" err="1">
                <a:solidFill>
                  <a:schemeClr val="bg1"/>
                </a:solidFill>
              </a:rPr>
              <a:t>Mechanisms</a:t>
            </a:r>
            <a:endParaRPr lang="de-DE" sz="1800" kern="0" dirty="0">
              <a:solidFill>
                <a:schemeClr val="bg1"/>
              </a:solidFill>
            </a:endParaRPr>
          </a:p>
        </p:txBody>
      </p:sp>
      <p:sp>
        <p:nvSpPr>
          <p:cNvPr id="22" name="Abgerundetes Rechteck 21">
            <a:extLst>
              <a:ext uri="{FF2B5EF4-FFF2-40B4-BE49-F238E27FC236}">
                <a16:creationId xmlns:a16="http://schemas.microsoft.com/office/drawing/2014/main" id="{22F7D821-C813-2D7C-618A-0A5BC194DB9F}"/>
              </a:ext>
            </a:extLst>
          </p:cNvPr>
          <p:cNvSpPr/>
          <p:nvPr/>
        </p:nvSpPr>
        <p:spPr>
          <a:xfrm>
            <a:off x="6210867" y="2155903"/>
            <a:ext cx="2907149" cy="2546194"/>
          </a:xfrm>
          <a:prstGeom prst="roundRect">
            <a:avLst/>
          </a:prstGeom>
          <a:solidFill>
            <a:srgbClr val="5A84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D794D181-4841-DD72-D7F8-90467522FCD6}"/>
              </a:ext>
            </a:extLst>
          </p:cNvPr>
          <p:cNvSpPr txBox="1"/>
          <p:nvPr/>
        </p:nvSpPr>
        <p:spPr>
          <a:xfrm>
            <a:off x="6341447" y="2343088"/>
            <a:ext cx="26646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B2233F"/>
              </a:buClr>
            </a:pPr>
            <a:r>
              <a:rPr lang="en-US" sz="2400" kern="0" dirty="0">
                <a:solidFill>
                  <a:schemeClr val="bg1"/>
                </a:solidFill>
              </a:rPr>
              <a:t>Medical devices</a:t>
            </a:r>
            <a:endParaRPr lang="de-DE" sz="2400" kern="0" dirty="0">
              <a:solidFill>
                <a:schemeClr val="bg1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47AF63BD-D30A-27AB-3F3B-6E8C9ADF899F}"/>
              </a:ext>
            </a:extLst>
          </p:cNvPr>
          <p:cNvSpPr txBox="1"/>
          <p:nvPr/>
        </p:nvSpPr>
        <p:spPr>
          <a:xfrm>
            <a:off x="3126355" y="1539736"/>
            <a:ext cx="208451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B2233F"/>
              </a:buClr>
            </a:pPr>
            <a:r>
              <a:rPr lang="de-DE" sz="2200" b="1" kern="0" dirty="0" err="1">
                <a:solidFill>
                  <a:srgbClr val="CC0000"/>
                </a:solidFill>
              </a:rPr>
              <a:t>Preclinical</a:t>
            </a:r>
            <a:endParaRPr lang="de-DE" sz="2200" b="1" kern="0" dirty="0">
              <a:solidFill>
                <a:srgbClr val="CC0000"/>
              </a:solidFill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FF7E91E4-1C1C-B1F7-1BAA-11DE2F961CE2}"/>
              </a:ext>
            </a:extLst>
          </p:cNvPr>
          <p:cNvSpPr txBox="1"/>
          <p:nvPr/>
        </p:nvSpPr>
        <p:spPr>
          <a:xfrm>
            <a:off x="8473593" y="1539736"/>
            <a:ext cx="1895253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B2233F"/>
              </a:buClr>
            </a:pPr>
            <a:r>
              <a:rPr lang="de-DE" sz="2200" b="1" kern="0" dirty="0">
                <a:solidFill>
                  <a:srgbClr val="CC0000"/>
                </a:solidFill>
              </a:rPr>
              <a:t>Clinica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7A3D9B-2EA0-3C86-DA99-4F0BCF7415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93346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18F7C79-E5EE-AD70-399F-EC6B24C68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r>
              <a:rPr lang="de-DE"/>
              <a:t>Foo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5806B75-410A-EB57-2F84-03E67D4391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AD02AA-849D-9B40-AF4B-26A62FAAF64D}" type="slidenum">
              <a:rPr lang="de-BJ" smtClean="0"/>
              <a:t>7</a:t>
            </a:fld>
            <a:endParaRPr lang="de-BJ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A14A23-F1F6-F733-9FA9-D401BBB0A8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+mn-lt"/>
              </a:rPr>
              <a:t>Future </a:t>
            </a:r>
            <a:r>
              <a:rPr lang="de-DE" dirty="0" err="1">
                <a:latin typeface="+mn-lt"/>
              </a:rPr>
              <a:t>research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rogramme</a:t>
            </a:r>
            <a:br>
              <a:rPr lang="de-DE" dirty="0">
                <a:latin typeface="+mn-lt"/>
              </a:rPr>
            </a:br>
            <a:r>
              <a:rPr lang="de-DE" dirty="0" err="1">
                <a:latin typeface="+mn-lt"/>
              </a:rPr>
              <a:t>infrastructure</a:t>
            </a:r>
            <a:r>
              <a:rPr lang="de-DE" dirty="0">
                <a:latin typeface="+mn-lt"/>
              </a:rPr>
              <a:t> &amp; </a:t>
            </a:r>
            <a:r>
              <a:rPr lang="de-DE" dirty="0" err="1">
                <a:latin typeface="+mn-lt"/>
              </a:rPr>
              <a:t>core</a:t>
            </a:r>
            <a:r>
              <a:rPr lang="de-DE" dirty="0">
                <a:latin typeface="+mn-lt"/>
              </a:rPr>
              <a:t> </a:t>
            </a:r>
            <a:r>
              <a:rPr lang="de-DE" dirty="0" err="1">
                <a:latin typeface="+mn-lt"/>
              </a:rPr>
              <a:t>projects</a:t>
            </a:r>
            <a:endParaRPr lang="de-DE" dirty="0"/>
          </a:p>
        </p:txBody>
      </p:sp>
      <p:sp>
        <p:nvSpPr>
          <p:cNvPr id="14" name="Rectangle 8">
            <a:extLst>
              <a:ext uri="{FF2B5EF4-FFF2-40B4-BE49-F238E27FC236}">
                <a16:creationId xmlns:a16="http://schemas.microsoft.com/office/drawing/2014/main" id="{173AE91D-E548-F349-1E9C-D5F8D50BEF5A}"/>
              </a:ext>
            </a:extLst>
          </p:cNvPr>
          <p:cNvSpPr/>
          <p:nvPr/>
        </p:nvSpPr>
        <p:spPr bwMode="auto">
          <a:xfrm>
            <a:off x="301769" y="1646272"/>
            <a:ext cx="3881390" cy="4365648"/>
          </a:xfrm>
          <a:prstGeom prst="roundRect">
            <a:avLst>
              <a:gd name="adj" fmla="val 9785"/>
            </a:avLst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Vorarbeiten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planal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t al., Nucleic Aci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2020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weit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eile</a:t>
            </a:r>
            <a:endParaRPr kumimoji="0" lang="aa-ET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8">
            <a:extLst>
              <a:ext uri="{FF2B5EF4-FFF2-40B4-BE49-F238E27FC236}">
                <a16:creationId xmlns:a16="http://schemas.microsoft.com/office/drawing/2014/main" id="{A9D6D621-3774-E929-B147-AED09CDC98C4}"/>
              </a:ext>
            </a:extLst>
          </p:cNvPr>
          <p:cNvSpPr/>
          <p:nvPr/>
        </p:nvSpPr>
        <p:spPr bwMode="auto">
          <a:xfrm>
            <a:off x="3888828" y="1646271"/>
            <a:ext cx="4267241" cy="4365648"/>
          </a:xfrm>
          <a:prstGeom prst="roundRect">
            <a:avLst>
              <a:gd name="adj" fmla="val 11611"/>
            </a:avLst>
          </a:prstGeom>
          <a:solidFill>
            <a:schemeClr val="accent3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Aim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 </a:t>
            </a:r>
            <a:r>
              <a:rPr kumimoji="0" lang="de-DE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of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 </a:t>
            </a:r>
            <a:r>
              <a:rPr kumimoji="0" lang="de-DE" sz="20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ＭＳ Ｐゴシック" charset="0"/>
                <a:cs typeface="ＭＳ Ｐゴシック" charset="0"/>
              </a:rPr>
              <a:t>study</a:t>
            </a:r>
            <a:endParaRPr kumimoji="0" lang="de-DE" sz="20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ＭＳ Ｐゴシック" charset="0"/>
              <a:cs typeface="ＭＳ Ｐゴシック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planal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t al., Nucleic Aci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2020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0" dirty="0"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weit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eile</a:t>
            </a:r>
            <a:endParaRPr kumimoji="0" lang="aa-ET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6" name="Rectangle 8">
            <a:extLst>
              <a:ext uri="{FF2B5EF4-FFF2-40B4-BE49-F238E27FC236}">
                <a16:creationId xmlns:a16="http://schemas.microsoft.com/office/drawing/2014/main" id="{D88282A7-ED4A-6EA2-02C5-4998D3C68461}"/>
              </a:ext>
            </a:extLst>
          </p:cNvPr>
          <p:cNvSpPr/>
          <p:nvPr/>
        </p:nvSpPr>
        <p:spPr bwMode="auto">
          <a:xfrm>
            <a:off x="7854300" y="1646270"/>
            <a:ext cx="4190597" cy="4365648"/>
          </a:xfrm>
          <a:prstGeom prst="roundRect">
            <a:avLst>
              <a:gd name="adj" fmla="val 10783"/>
            </a:avLst>
          </a:prstGeom>
          <a:solidFill>
            <a:srgbClr val="E6332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1219170">
              <a:defRPr/>
            </a:pPr>
            <a:r>
              <a:rPr lang="de-DE" sz="2000" dirty="0">
                <a:solidFill>
                  <a:schemeClr val="bg1"/>
                </a:solidFill>
                <a:latin typeface="Arial"/>
                <a:ea typeface="ＭＳ Ｐゴシック"/>
                <a:cs typeface="ＭＳ Ｐゴシック"/>
              </a:rPr>
              <a:t>Impact /Mehrwert Herz-Kreislauf-Forschung &amp; DZHK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planalp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t al., Nucleic Acid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2020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kern="0" dirty="0">
              <a:solidFill>
                <a:schemeClr val="bg1"/>
              </a:solidFill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weiter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2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rebuchet MS" panose="020B0603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eile</a:t>
            </a:r>
            <a:endParaRPr kumimoji="0" lang="aa-ET" sz="12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rebuchet MS" panose="020B06030202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FFA2C85-0C82-A64A-0807-F37EF76EF5C2}"/>
              </a:ext>
            </a:extLst>
          </p:cNvPr>
          <p:cNvSpPr txBox="1"/>
          <p:nvPr/>
        </p:nvSpPr>
        <p:spPr>
          <a:xfrm>
            <a:off x="5962718" y="1147011"/>
            <a:ext cx="1446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Trebuchet MS" panose="020B0703020202090204" pitchFamily="34" charset="0"/>
              </a:rPr>
              <a:t>Simone-F. Glase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703020202090204" pitchFamily="34" charset="0"/>
              <a:ea typeface="ＭＳ Ｐゴシック" charset="-128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70447BA-D2F6-219D-3BCC-07341902A8E8}"/>
              </a:ext>
            </a:extLst>
          </p:cNvPr>
          <p:cNvSpPr txBox="1"/>
          <p:nvPr/>
        </p:nvSpPr>
        <p:spPr>
          <a:xfrm>
            <a:off x="7980270" y="1147011"/>
            <a:ext cx="14467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>
                <a:latin typeface="Trebuchet MS" panose="020B0703020202090204" pitchFamily="34" charset="0"/>
              </a:rPr>
              <a:t>Michael Molitor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703020202090204" pitchFamily="34" charset="0"/>
              <a:ea typeface="ＭＳ Ｐゴシック" charset="-128"/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7E394049-B6C1-4E68-646A-78306C4C3D4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" r="-33" b="30838"/>
          <a:stretch/>
        </p:blipFill>
        <p:spPr>
          <a:xfrm>
            <a:off x="5393458" y="901127"/>
            <a:ext cx="528200" cy="483288"/>
          </a:xfrm>
          <a:prstGeom prst="round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42B37937-F55C-7CFE-F909-A03E2F16AF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30" t="10646" r="-230" b="19314"/>
          <a:stretch/>
        </p:blipFill>
        <p:spPr>
          <a:xfrm>
            <a:off x="7419000" y="903272"/>
            <a:ext cx="550718" cy="493655"/>
          </a:xfrm>
          <a:prstGeom prst="round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18E14422-B096-5257-76FC-7564736130F2}"/>
              </a:ext>
            </a:extLst>
          </p:cNvPr>
          <p:cNvSpPr txBox="1"/>
          <p:nvPr/>
        </p:nvSpPr>
        <p:spPr>
          <a:xfrm>
            <a:off x="301372" y="363842"/>
            <a:ext cx="144675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 err="1">
                <a:latin typeface="Trebuchet MS" panose="020B0703020202090204" pitchFamily="34" charset="0"/>
              </a:rPr>
              <a:t>cooperation</a:t>
            </a:r>
            <a:r>
              <a:rPr lang="de-DE" sz="1000" dirty="0">
                <a:latin typeface="Trebuchet MS" panose="020B0703020202090204" pitchFamily="34" charset="0"/>
              </a:rPr>
              <a:t>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000" dirty="0">
                <a:latin typeface="Trebuchet MS" panose="020B0703020202090204" pitchFamily="34" charset="0"/>
              </a:rPr>
              <a:t>Partner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rebuchet MS" panose="020B0703020202090204" pitchFamily="34" charset="0"/>
              <a:ea typeface="ＭＳ Ｐゴシック" charset="-128"/>
            </a:endParaRPr>
          </a:p>
        </p:txBody>
      </p:sp>
      <p:pic>
        <p:nvPicPr>
          <p:cNvPr id="22" name="Grafik 21" descr="Ein Bild, das Schrift, Grafiken, Logo, Kreis enthält.&#10;&#10;Automatisch generierte Beschreibung">
            <a:extLst>
              <a:ext uri="{FF2B5EF4-FFF2-40B4-BE49-F238E27FC236}">
                <a16:creationId xmlns:a16="http://schemas.microsoft.com/office/drawing/2014/main" id="{14894D08-04AB-2940-D645-31DF2C1632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2974" y="331697"/>
            <a:ext cx="708209" cy="396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1234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E54DF86A-FF3A-DD2B-BAA6-B9088A304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609642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4" imgW="7772400" imgH="10058400" progId="TCLayout.ActiveDocument.1">
                  <p:embed/>
                </p:oleObj>
              </mc:Choice>
              <mc:Fallback>
                <p:oleObj name="think-cell Foli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Grafik 38">
            <a:extLst>
              <a:ext uri="{FF2B5EF4-FFF2-40B4-BE49-F238E27FC236}">
                <a16:creationId xmlns:a16="http://schemas.microsoft.com/office/drawing/2014/main" id="{53C00F1C-BD5C-92C0-EA0D-214CCD42C216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413906" y="1320456"/>
            <a:ext cx="5038928" cy="5040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A2100E-7E4F-0B0D-1384-10BFC0A029E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6367" y="337315"/>
            <a:ext cx="4246565" cy="772443"/>
          </a:xfrm>
        </p:spPr>
        <p:txBody>
          <a:bodyPr vert="horz">
            <a:normAutofit/>
          </a:bodyPr>
          <a:lstStyle/>
          <a:p>
            <a:r>
              <a:rPr lang="de-BJ" sz="2400" b="1" dirty="0">
                <a:latin typeface="Trebuchet MS" panose="020B0703020202090204" pitchFamily="34" charset="0"/>
              </a:rPr>
              <a:t>Copy</a:t>
            </a:r>
            <a:r>
              <a:rPr lang="de-DE" sz="2400" b="1" dirty="0">
                <a:latin typeface="Trebuchet MS" panose="020B0703020202090204" pitchFamily="34" charset="0"/>
              </a:rPr>
              <a:t> </a:t>
            </a:r>
            <a:r>
              <a:rPr lang="de-BJ" sz="2400" b="1" dirty="0">
                <a:latin typeface="Trebuchet MS" panose="020B0703020202090204" pitchFamily="34" charset="0"/>
              </a:rPr>
              <a:t>&amp;</a:t>
            </a:r>
            <a:r>
              <a:rPr lang="de-DE" sz="2400" b="1" dirty="0">
                <a:latin typeface="Trebuchet MS" panose="020B0703020202090204" pitchFamily="34" charset="0"/>
              </a:rPr>
              <a:t> </a:t>
            </a:r>
            <a:r>
              <a:rPr lang="de-BJ" sz="2400" b="1" dirty="0">
                <a:latin typeface="Trebuchet MS" panose="020B0703020202090204" pitchFamily="34" charset="0"/>
              </a:rPr>
              <a:t>Paste Bibliothe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C84D189-CC53-51D3-C8D7-C8E4D1BC00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46659" y="377805"/>
            <a:ext cx="838200" cy="698500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03B3E37-B2EC-B7A7-C33D-629CF4C1E0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8326" y="2812528"/>
            <a:ext cx="2044700" cy="3175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0E0F0A3-A980-D8EA-43AE-75842FF8BC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3370" y="2812528"/>
            <a:ext cx="2044699" cy="317466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6BEC83E1-BE2D-D25B-D528-BFEAF4A9780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52383" y="320655"/>
            <a:ext cx="342900" cy="4064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6F59062-ED32-18A3-2842-0C91AE92A3B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75427" y="774366"/>
            <a:ext cx="342900" cy="4064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2B5BCBFD-8454-FE94-1771-4877F64832B8}"/>
              </a:ext>
            </a:extLst>
          </p:cNvPr>
          <p:cNvSpPr txBox="1"/>
          <p:nvPr/>
        </p:nvSpPr>
        <p:spPr>
          <a:xfrm>
            <a:off x="8668084" y="2327711"/>
            <a:ext cx="1094954" cy="380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BJ" dirty="0"/>
              <a:t>CC0000</a:t>
            </a:r>
          </a:p>
        </p:txBody>
      </p:sp>
      <p:sp>
        <p:nvSpPr>
          <p:cNvPr id="15" name="Abgerundetes Rechteck 14">
            <a:extLst>
              <a:ext uri="{FF2B5EF4-FFF2-40B4-BE49-F238E27FC236}">
                <a16:creationId xmlns:a16="http://schemas.microsoft.com/office/drawing/2014/main" id="{87A35AF4-0C2C-AC94-4903-4DD05358AB89}"/>
              </a:ext>
            </a:extLst>
          </p:cNvPr>
          <p:cNvSpPr/>
          <p:nvPr/>
        </p:nvSpPr>
        <p:spPr>
          <a:xfrm>
            <a:off x="8664703" y="2675272"/>
            <a:ext cx="947057" cy="947057"/>
          </a:xfrm>
          <a:prstGeom prst="round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546BEA1-DF41-2D0C-328B-E06FF64F3937}"/>
              </a:ext>
            </a:extLst>
          </p:cNvPr>
          <p:cNvSpPr txBox="1"/>
          <p:nvPr/>
        </p:nvSpPr>
        <p:spPr>
          <a:xfrm>
            <a:off x="9791785" y="2327711"/>
            <a:ext cx="94705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BJ" dirty="0"/>
              <a:t>5A84C4</a:t>
            </a:r>
          </a:p>
        </p:txBody>
      </p:sp>
      <p:sp>
        <p:nvSpPr>
          <p:cNvPr id="18" name="Abgerundetes Rechteck 17">
            <a:extLst>
              <a:ext uri="{FF2B5EF4-FFF2-40B4-BE49-F238E27FC236}">
                <a16:creationId xmlns:a16="http://schemas.microsoft.com/office/drawing/2014/main" id="{E9F02085-887D-FD3E-37E6-1A4E95B78239}"/>
              </a:ext>
            </a:extLst>
          </p:cNvPr>
          <p:cNvSpPr/>
          <p:nvPr/>
        </p:nvSpPr>
        <p:spPr>
          <a:xfrm>
            <a:off x="9821062" y="2675272"/>
            <a:ext cx="947057" cy="947057"/>
          </a:xfrm>
          <a:prstGeom prst="roundRect">
            <a:avLst/>
          </a:prstGeom>
          <a:solidFill>
            <a:srgbClr val="5A84C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23" name="Abgerundetes Rechteck 22">
            <a:extLst>
              <a:ext uri="{FF2B5EF4-FFF2-40B4-BE49-F238E27FC236}">
                <a16:creationId xmlns:a16="http://schemas.microsoft.com/office/drawing/2014/main" id="{77975DE8-7B0A-3EE5-376B-3E0B0E5FD367}"/>
              </a:ext>
            </a:extLst>
          </p:cNvPr>
          <p:cNvSpPr/>
          <p:nvPr/>
        </p:nvSpPr>
        <p:spPr>
          <a:xfrm>
            <a:off x="10977421" y="2675272"/>
            <a:ext cx="947057" cy="947057"/>
          </a:xfrm>
          <a:prstGeom prst="roundRect">
            <a:avLst/>
          </a:prstGeom>
          <a:solidFill>
            <a:srgbClr val="FCB75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24" name="Abgerundetes Rechteck 23">
            <a:extLst>
              <a:ext uri="{FF2B5EF4-FFF2-40B4-BE49-F238E27FC236}">
                <a16:creationId xmlns:a16="http://schemas.microsoft.com/office/drawing/2014/main" id="{A4149E22-908D-E380-C700-EC65324EB771}"/>
              </a:ext>
            </a:extLst>
          </p:cNvPr>
          <p:cNvSpPr/>
          <p:nvPr/>
        </p:nvSpPr>
        <p:spPr>
          <a:xfrm>
            <a:off x="10977421" y="4037661"/>
            <a:ext cx="947057" cy="947057"/>
          </a:xfrm>
          <a:prstGeom prst="roundRect">
            <a:avLst/>
          </a:prstGeom>
          <a:solidFill>
            <a:srgbClr val="E50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79A9B0FD-68D5-757C-E703-8269E66418CC}"/>
              </a:ext>
            </a:extLst>
          </p:cNvPr>
          <p:cNvSpPr txBox="1"/>
          <p:nvPr/>
        </p:nvSpPr>
        <p:spPr>
          <a:xfrm>
            <a:off x="10975858" y="2312736"/>
            <a:ext cx="88793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FCB757</a:t>
            </a:r>
            <a:endParaRPr lang="de-BJ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17478D1-8D74-BE7D-F581-885259925EA3}"/>
              </a:ext>
            </a:extLst>
          </p:cNvPr>
          <p:cNvSpPr txBox="1"/>
          <p:nvPr/>
        </p:nvSpPr>
        <p:spPr>
          <a:xfrm>
            <a:off x="10975858" y="3645329"/>
            <a:ext cx="961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E50050</a:t>
            </a:r>
            <a:endParaRPr lang="de-BJ" dirty="0"/>
          </a:p>
        </p:txBody>
      </p:sp>
      <p:sp>
        <p:nvSpPr>
          <p:cNvPr id="28" name="Abgerundetes Rechteck 27">
            <a:extLst>
              <a:ext uri="{FF2B5EF4-FFF2-40B4-BE49-F238E27FC236}">
                <a16:creationId xmlns:a16="http://schemas.microsoft.com/office/drawing/2014/main" id="{6FCCC50E-4697-BD7F-241D-B509A71437C5}"/>
              </a:ext>
            </a:extLst>
          </p:cNvPr>
          <p:cNvSpPr/>
          <p:nvPr/>
        </p:nvSpPr>
        <p:spPr>
          <a:xfrm>
            <a:off x="8657198" y="5378278"/>
            <a:ext cx="947057" cy="947057"/>
          </a:xfrm>
          <a:prstGeom prst="roundRect">
            <a:avLst/>
          </a:prstGeom>
          <a:solidFill>
            <a:srgbClr val="D241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4C216A86-BC76-EE81-F91F-7DD480902F15}"/>
              </a:ext>
            </a:extLst>
          </p:cNvPr>
          <p:cNvSpPr txBox="1"/>
          <p:nvPr/>
        </p:nvSpPr>
        <p:spPr>
          <a:xfrm>
            <a:off x="8642685" y="5007718"/>
            <a:ext cx="961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BJ" dirty="0"/>
              <a:t>D24150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BED9104-FDCF-94B4-BD5D-595FD5532D7E}"/>
              </a:ext>
            </a:extLst>
          </p:cNvPr>
          <p:cNvSpPr txBox="1"/>
          <p:nvPr/>
        </p:nvSpPr>
        <p:spPr>
          <a:xfrm>
            <a:off x="8657198" y="3645329"/>
            <a:ext cx="10129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BJ" dirty="0"/>
              <a:t>E63324</a:t>
            </a:r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985A5639-9867-BCCB-148B-76C57F6818A6}"/>
              </a:ext>
            </a:extLst>
          </p:cNvPr>
          <p:cNvSpPr/>
          <p:nvPr/>
        </p:nvSpPr>
        <p:spPr>
          <a:xfrm>
            <a:off x="8642685" y="4014661"/>
            <a:ext cx="947057" cy="947057"/>
          </a:xfrm>
          <a:prstGeom prst="roundRect">
            <a:avLst/>
          </a:prstGeom>
          <a:solidFill>
            <a:srgbClr val="E6332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A1C678B7-6D3D-67CB-90B0-BA47C5B5914E}"/>
              </a:ext>
            </a:extLst>
          </p:cNvPr>
          <p:cNvSpPr txBox="1"/>
          <p:nvPr/>
        </p:nvSpPr>
        <p:spPr>
          <a:xfrm>
            <a:off x="9809926" y="3635671"/>
            <a:ext cx="101293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FFA050</a:t>
            </a:r>
            <a:endParaRPr lang="de-BJ" dirty="0"/>
          </a:p>
        </p:txBody>
      </p:sp>
      <p:sp>
        <p:nvSpPr>
          <p:cNvPr id="34" name="Abgerundetes Rechteck 33">
            <a:extLst>
              <a:ext uri="{FF2B5EF4-FFF2-40B4-BE49-F238E27FC236}">
                <a16:creationId xmlns:a16="http://schemas.microsoft.com/office/drawing/2014/main" id="{C1A5B2ED-FA51-9AD3-8220-5D401FB4EDC7}"/>
              </a:ext>
            </a:extLst>
          </p:cNvPr>
          <p:cNvSpPr/>
          <p:nvPr/>
        </p:nvSpPr>
        <p:spPr>
          <a:xfrm>
            <a:off x="9828071" y="4005003"/>
            <a:ext cx="947057" cy="947057"/>
          </a:xfrm>
          <a:prstGeom prst="roundRect">
            <a:avLst/>
          </a:prstGeom>
          <a:solidFill>
            <a:srgbClr val="FFA05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 dirty="0"/>
          </a:p>
        </p:txBody>
      </p:sp>
      <p:sp>
        <p:nvSpPr>
          <p:cNvPr id="35" name="Abgerundetes Rechteck 34">
            <a:extLst>
              <a:ext uri="{FF2B5EF4-FFF2-40B4-BE49-F238E27FC236}">
                <a16:creationId xmlns:a16="http://schemas.microsoft.com/office/drawing/2014/main" id="{55C1C361-FD61-F4C4-51F0-F643809127AE}"/>
              </a:ext>
            </a:extLst>
          </p:cNvPr>
          <p:cNvSpPr/>
          <p:nvPr/>
        </p:nvSpPr>
        <p:spPr>
          <a:xfrm>
            <a:off x="9821062" y="5378278"/>
            <a:ext cx="947057" cy="947057"/>
          </a:xfrm>
          <a:prstGeom prst="roundRect">
            <a:avLst/>
          </a:prstGeom>
          <a:solidFill>
            <a:srgbClr val="C33B7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BJ"/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25574D90-7744-DAB1-5CEB-E42FABDE5625}"/>
              </a:ext>
            </a:extLst>
          </p:cNvPr>
          <p:cNvSpPr txBox="1"/>
          <p:nvPr/>
        </p:nvSpPr>
        <p:spPr>
          <a:xfrm>
            <a:off x="9806549" y="5007718"/>
            <a:ext cx="9615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C33B7C</a:t>
            </a:r>
            <a:endParaRPr lang="de-BJ" dirty="0"/>
          </a:p>
        </p:txBody>
      </p:sp>
      <p:sp>
        <p:nvSpPr>
          <p:cNvPr id="37" name="Abgerundetes Rechteck 14">
            <a:extLst>
              <a:ext uri="{FF2B5EF4-FFF2-40B4-BE49-F238E27FC236}">
                <a16:creationId xmlns:a16="http://schemas.microsoft.com/office/drawing/2014/main" id="{C442A0C9-2956-469B-8ED7-08F877F51C6B}"/>
              </a:ext>
            </a:extLst>
          </p:cNvPr>
          <p:cNvSpPr/>
          <p:nvPr/>
        </p:nvSpPr>
        <p:spPr>
          <a:xfrm>
            <a:off x="8664703" y="1522695"/>
            <a:ext cx="947057" cy="637224"/>
          </a:xfrm>
          <a:prstGeom prst="roundRect">
            <a:avLst/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</a:rPr>
              <a:t>ABC</a:t>
            </a:r>
            <a:endParaRPr lang="de-BJ">
              <a:solidFill>
                <a:schemeClr val="bg1"/>
              </a:solidFill>
            </a:endParaRPr>
          </a:p>
        </p:txBody>
      </p:sp>
      <p:sp>
        <p:nvSpPr>
          <p:cNvPr id="5" name="Freihandform 4">
            <a:extLst>
              <a:ext uri="{FF2B5EF4-FFF2-40B4-BE49-F238E27FC236}">
                <a16:creationId xmlns:a16="http://schemas.microsoft.com/office/drawing/2014/main" id="{562F8EDE-2122-D1F7-48A2-B84B4310CA97}"/>
              </a:ext>
            </a:extLst>
          </p:cNvPr>
          <p:cNvSpPr/>
          <p:nvPr/>
        </p:nvSpPr>
        <p:spPr>
          <a:xfrm>
            <a:off x="7765973" y="2793371"/>
            <a:ext cx="718197" cy="1544084"/>
          </a:xfrm>
          <a:custGeom>
            <a:avLst/>
            <a:gdLst>
              <a:gd name="connsiteX0" fmla="*/ 0 w 919734"/>
              <a:gd name="connsiteY0" fmla="*/ 1729158 h 1977377"/>
              <a:gd name="connsiteX1" fmla="*/ 57655 w 919734"/>
              <a:gd name="connsiteY1" fmla="*/ 1729158 h 1977377"/>
              <a:gd name="connsiteX2" fmla="*/ 737350 w 919734"/>
              <a:gd name="connsiteY2" fmla="*/ 1729158 h 1977377"/>
              <a:gd name="connsiteX3" fmla="*/ 737350 w 919734"/>
              <a:gd name="connsiteY3" fmla="*/ 1977377 h 1977377"/>
              <a:gd name="connsiteX4" fmla="*/ 0 w 919734"/>
              <a:gd name="connsiteY4" fmla="*/ 1977377 h 1977377"/>
              <a:gd name="connsiteX5" fmla="*/ 0 w 919734"/>
              <a:gd name="connsiteY5" fmla="*/ 1296734 h 1977377"/>
              <a:gd name="connsiteX6" fmla="*/ 817604 w 919734"/>
              <a:gd name="connsiteY6" fmla="*/ 1296734 h 1977377"/>
              <a:gd name="connsiteX7" fmla="*/ 817604 w 919734"/>
              <a:gd name="connsiteY7" fmla="*/ 1545460 h 1977377"/>
              <a:gd name="connsiteX8" fmla="*/ 119240 w 919734"/>
              <a:gd name="connsiteY8" fmla="*/ 1545460 h 1977377"/>
              <a:gd name="connsiteX9" fmla="*/ 0 w 919734"/>
              <a:gd name="connsiteY9" fmla="*/ 1545460 h 1977377"/>
              <a:gd name="connsiteX10" fmla="*/ 826111 w 919734"/>
              <a:gd name="connsiteY10" fmla="*/ 863798 h 1977377"/>
              <a:gd name="connsiteX11" fmla="*/ 826111 w 919734"/>
              <a:gd name="connsiteY11" fmla="*/ 1112524 h 1977377"/>
              <a:gd name="connsiteX12" fmla="*/ 125679 w 919734"/>
              <a:gd name="connsiteY12" fmla="*/ 1112524 h 1977377"/>
              <a:gd name="connsiteX13" fmla="*/ 0 w 919734"/>
              <a:gd name="connsiteY13" fmla="*/ 1112524 h 1977377"/>
              <a:gd name="connsiteX14" fmla="*/ 0 w 919734"/>
              <a:gd name="connsiteY14" fmla="*/ 864321 h 1977377"/>
              <a:gd name="connsiteX15" fmla="*/ 125864 w 919734"/>
              <a:gd name="connsiteY15" fmla="*/ 864321 h 1977377"/>
              <a:gd name="connsiteX16" fmla="*/ 826111 w 919734"/>
              <a:gd name="connsiteY16" fmla="*/ 864321 h 1977377"/>
              <a:gd name="connsiteX17" fmla="*/ 0 w 919734"/>
              <a:gd name="connsiteY17" fmla="*/ 431899 h 1977377"/>
              <a:gd name="connsiteX18" fmla="*/ 760454 w 919734"/>
              <a:gd name="connsiteY18" fmla="*/ 431899 h 1977377"/>
              <a:gd name="connsiteX19" fmla="*/ 760454 w 919734"/>
              <a:gd name="connsiteY19" fmla="*/ 680117 h 1977377"/>
              <a:gd name="connsiteX20" fmla="*/ 75416 w 919734"/>
              <a:gd name="connsiteY20" fmla="*/ 680117 h 1977377"/>
              <a:gd name="connsiteX21" fmla="*/ 0 w 919734"/>
              <a:gd name="connsiteY21" fmla="*/ 680117 h 1977377"/>
              <a:gd name="connsiteX22" fmla="*/ 0 w 919734"/>
              <a:gd name="connsiteY22" fmla="*/ 0 h 1977377"/>
              <a:gd name="connsiteX23" fmla="*/ 612118 w 919734"/>
              <a:gd name="connsiteY23" fmla="*/ 0 h 1977377"/>
              <a:gd name="connsiteX24" fmla="*/ 612523 w 919734"/>
              <a:gd name="connsiteY24" fmla="*/ 0 h 1977377"/>
              <a:gd name="connsiteX25" fmla="*/ 612523 w 919734"/>
              <a:gd name="connsiteY25" fmla="*/ 248218 h 1977377"/>
              <a:gd name="connsiteX26" fmla="*/ 0 w 919734"/>
              <a:gd name="connsiteY26" fmla="*/ 248218 h 1977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919734" h="1977377">
                <a:moveTo>
                  <a:pt x="0" y="1729158"/>
                </a:moveTo>
                <a:lnTo>
                  <a:pt x="57655" y="1729158"/>
                </a:lnTo>
                <a:cubicBezTo>
                  <a:pt x="399995" y="1729158"/>
                  <a:pt x="645856" y="1729158"/>
                  <a:pt x="737350" y="1729158"/>
                </a:cubicBezTo>
                <a:cubicBezTo>
                  <a:pt x="862181" y="1729158"/>
                  <a:pt x="862181" y="1977377"/>
                  <a:pt x="737350" y="1977377"/>
                </a:cubicBezTo>
                <a:lnTo>
                  <a:pt x="0" y="1977377"/>
                </a:lnTo>
                <a:close/>
                <a:moveTo>
                  <a:pt x="0" y="1296734"/>
                </a:moveTo>
                <a:lnTo>
                  <a:pt x="817604" y="1296734"/>
                </a:lnTo>
                <a:cubicBezTo>
                  <a:pt x="942430" y="1296734"/>
                  <a:pt x="942430" y="1545460"/>
                  <a:pt x="817604" y="1545460"/>
                </a:cubicBezTo>
                <a:cubicBezTo>
                  <a:pt x="723602" y="1545460"/>
                  <a:pt x="470988" y="1545460"/>
                  <a:pt x="119240" y="1545460"/>
                </a:cubicBezTo>
                <a:lnTo>
                  <a:pt x="0" y="1545460"/>
                </a:lnTo>
                <a:close/>
                <a:moveTo>
                  <a:pt x="826111" y="863798"/>
                </a:moveTo>
                <a:cubicBezTo>
                  <a:pt x="950942" y="863798"/>
                  <a:pt x="950942" y="1112524"/>
                  <a:pt x="826111" y="1112524"/>
                </a:cubicBezTo>
                <a:cubicBezTo>
                  <a:pt x="731806" y="1112524"/>
                  <a:pt x="478446" y="1112524"/>
                  <a:pt x="125679" y="1112524"/>
                </a:cubicBezTo>
                <a:lnTo>
                  <a:pt x="0" y="1112524"/>
                </a:lnTo>
                <a:lnTo>
                  <a:pt x="0" y="864321"/>
                </a:lnTo>
                <a:lnTo>
                  <a:pt x="125864" y="864321"/>
                </a:lnTo>
                <a:cubicBezTo>
                  <a:pt x="478584" y="864321"/>
                  <a:pt x="731882" y="864321"/>
                  <a:pt x="826111" y="864321"/>
                </a:cubicBezTo>
                <a:close/>
                <a:moveTo>
                  <a:pt x="0" y="431899"/>
                </a:moveTo>
                <a:lnTo>
                  <a:pt x="760454" y="431899"/>
                </a:lnTo>
                <a:cubicBezTo>
                  <a:pt x="885285" y="431899"/>
                  <a:pt x="885285" y="680117"/>
                  <a:pt x="760454" y="680117"/>
                </a:cubicBezTo>
                <a:cubicBezTo>
                  <a:pt x="668276" y="680117"/>
                  <a:pt x="420477" y="680117"/>
                  <a:pt x="75416" y="680117"/>
                </a:cubicBezTo>
                <a:lnTo>
                  <a:pt x="0" y="680117"/>
                </a:lnTo>
                <a:close/>
                <a:moveTo>
                  <a:pt x="0" y="0"/>
                </a:moveTo>
                <a:lnTo>
                  <a:pt x="612118" y="0"/>
                </a:lnTo>
                <a:lnTo>
                  <a:pt x="612523" y="0"/>
                </a:lnTo>
                <a:cubicBezTo>
                  <a:pt x="737354" y="0"/>
                  <a:pt x="737354" y="248218"/>
                  <a:pt x="612523" y="248218"/>
                </a:cubicBezTo>
                <a:lnTo>
                  <a:pt x="0" y="248218"/>
                </a:lnTo>
                <a:close/>
              </a:path>
            </a:pathLst>
          </a:custGeom>
          <a:solidFill>
            <a:schemeClr val="accent4"/>
          </a:solidFill>
          <a:ln w="950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pic>
        <p:nvPicPr>
          <p:cNvPr id="123" name="Grafik 122">
            <a:extLst>
              <a:ext uri="{FF2B5EF4-FFF2-40B4-BE49-F238E27FC236}">
                <a16:creationId xmlns:a16="http://schemas.microsoft.com/office/drawing/2014/main" id="{29584749-28AD-4EA9-A299-4788A41FBD8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753718" y="302375"/>
            <a:ext cx="1537502" cy="528516"/>
          </a:xfrm>
          <a:prstGeom prst="rect">
            <a:avLst/>
          </a:prstGeom>
        </p:spPr>
      </p:pic>
      <p:pic>
        <p:nvPicPr>
          <p:cNvPr id="126" name="Grafik 125">
            <a:extLst>
              <a:ext uri="{FF2B5EF4-FFF2-40B4-BE49-F238E27FC236}">
                <a16:creationId xmlns:a16="http://schemas.microsoft.com/office/drawing/2014/main" id="{75C07741-DD46-4EA7-ABE4-EE573E1D464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660615" y="303495"/>
            <a:ext cx="1664779" cy="790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2436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DZHK Neu">
      <a:dk1>
        <a:srgbClr val="000000"/>
      </a:dk1>
      <a:lt1>
        <a:srgbClr val="FFFFFF"/>
      </a:lt1>
      <a:dk2>
        <a:srgbClr val="CACACA"/>
      </a:dk2>
      <a:lt2>
        <a:srgbClr val="FFFFFF"/>
      </a:lt2>
      <a:accent1>
        <a:srgbClr val="CC0000"/>
      </a:accent1>
      <a:accent2>
        <a:srgbClr val="5983C3"/>
      </a:accent2>
      <a:accent3>
        <a:srgbClr val="FBB657"/>
      </a:accent3>
      <a:accent4>
        <a:srgbClr val="E53324"/>
      </a:accent4>
      <a:accent5>
        <a:srgbClr val="FFA050"/>
      </a:accent5>
      <a:accent6>
        <a:srgbClr val="E50050"/>
      </a:accent6>
      <a:hlink>
        <a:srgbClr val="D24150"/>
      </a:hlink>
      <a:folHlink>
        <a:srgbClr val="C33B7C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Trebuchet MS" panose="020B070302020209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4_DZHK_ppt_master" id="{D0CD6EF3-4762-2141-8EBD-53A36950BCBF}" vid="{0B247830-5921-F04A-8647-2CC641916F3F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-Young-Retreat</Template>
  <TotalTime>0</TotalTime>
  <Words>220</Words>
  <Application>Microsoft Office PowerPoint</Application>
  <PresentationFormat>Breitbild</PresentationFormat>
  <Paragraphs>82</Paragraphs>
  <Slides>8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5" baseType="lpstr">
      <vt:lpstr>ＭＳ Ｐゴシック</vt:lpstr>
      <vt:lpstr>Arial</vt:lpstr>
      <vt:lpstr>Calibri</vt:lpstr>
      <vt:lpstr>Calibri Light</vt:lpstr>
      <vt:lpstr>Trebuchet MS</vt:lpstr>
      <vt:lpstr>Office</vt:lpstr>
      <vt:lpstr>think-cell Folie</vt:lpstr>
      <vt:lpstr>XX. Sitzung der/des DZHK Gremium xy</vt:lpstr>
      <vt:lpstr>XX. Sitzung der/des DZHK Gremium xy</vt:lpstr>
      <vt:lpstr>PowerPoint-Präsentation</vt:lpstr>
      <vt:lpstr>Innovation Clusters – an integrated approach</vt:lpstr>
      <vt:lpstr>Cardiac-specific AAV variants for gene therapy</vt:lpstr>
      <vt:lpstr>Headline</vt:lpstr>
      <vt:lpstr>Future research programme infrastructure &amp; core projects</vt:lpstr>
      <vt:lpstr>Copy &amp; Paste Bibliothek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XX. Sitzung der/des DZHK Gremium xy</dc:title>
  <dc:creator>Sarah Mempel</dc:creator>
  <cp:lastModifiedBy>Sarah Mempel</cp:lastModifiedBy>
  <cp:revision>1</cp:revision>
  <dcterms:created xsi:type="dcterms:W3CDTF">2024-07-17T08:27:44Z</dcterms:created>
  <dcterms:modified xsi:type="dcterms:W3CDTF">2024-07-17T08:34:16Z</dcterms:modified>
</cp:coreProperties>
</file>